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563" r:id="rId2"/>
    <p:sldId id="560" r:id="rId3"/>
    <p:sldId id="561" r:id="rId4"/>
    <p:sldId id="541" r:id="rId5"/>
    <p:sldId id="549" r:id="rId6"/>
    <p:sldId id="551" r:id="rId7"/>
    <p:sldId id="550" r:id="rId8"/>
    <p:sldId id="552" r:id="rId9"/>
    <p:sldId id="539" r:id="rId10"/>
    <p:sldId id="555" r:id="rId11"/>
    <p:sldId id="558" r:id="rId12"/>
    <p:sldId id="557" r:id="rId13"/>
    <p:sldId id="509" r:id="rId14"/>
    <p:sldId id="499" r:id="rId15"/>
    <p:sldId id="562" r:id="rId16"/>
    <p:sldId id="540" r:id="rId17"/>
  </p:sldIdLst>
  <p:sldSz cx="11053763" cy="7921625"/>
  <p:notesSz cx="6797675" cy="9926638"/>
  <p:embeddedFontLst>
    <p:embeddedFont>
      <p:font typeface="Angsana New" panose="02020603050405020304" pitchFamily="18" charset="-34"/>
      <p:regular r:id="rId20"/>
      <p:bold r:id="rId21"/>
      <p:italic r:id="rId22"/>
      <p:boldItalic r:id="rId23"/>
    </p:embeddedFont>
    <p:embeddedFont>
      <p:font typeface="Calibri" panose="020F0502020204030204" pitchFamily="34" charset="0"/>
      <p:regular r:id="rId24"/>
      <p:bold r:id="rId25"/>
      <p:italic r:id="rId26"/>
      <p:boldItalic r:id="rId27"/>
    </p:embeddedFont>
    <p:embeddedFont>
      <p:font typeface="Georgia" panose="02040502050405020303" pitchFamily="18" charset="0"/>
      <p:regular r:id="rId28"/>
      <p:bold r:id="rId29"/>
      <p:italic r:id="rId30"/>
      <p:boldItalic r:id="rId31"/>
    </p:embeddedFont>
    <p:embeddedFont>
      <p:font typeface="PT Sans Narrow" panose="020B0604020202020204" charset="-52"/>
      <p:regular r:id="rId32"/>
      <p:bold r:id="rId33"/>
    </p:embeddedFont>
    <p:embeddedFont>
      <p:font typeface="Tahoma" panose="020B0604030504040204" pitchFamily="34" charset="0"/>
      <p:regular r:id="rId34"/>
      <p:bold r:id="rId35"/>
    </p:embeddedFont>
  </p:embeddedFontLst>
  <p:defaultTextStyle>
    <a:defPPr>
      <a:defRPr lang="ru-RU"/>
    </a:defPPr>
    <a:lvl1pPr marL="0" algn="l" defTabSz="108429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42148" algn="l" defTabSz="108429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84296" algn="l" defTabSz="108429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26443" algn="l" defTabSz="108429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68591" algn="l" defTabSz="108429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710739" algn="l" defTabSz="108429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52887" algn="l" defTabSz="108429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795034" algn="l" defTabSz="108429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37182" algn="l" defTabSz="108429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95">
          <p15:clr>
            <a:srgbClr val="A4A3A4"/>
          </p15:clr>
        </p15:guide>
        <p15:guide id="2" pos="34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06A"/>
    <a:srgbClr val="3D497C"/>
    <a:srgbClr val="982920"/>
    <a:srgbClr val="A3D3C7"/>
    <a:srgbClr val="4572A7"/>
    <a:srgbClr val="E46C0A"/>
    <a:srgbClr val="6E6B69"/>
    <a:srgbClr val="E9DBD4"/>
    <a:srgbClr val="7030A0"/>
    <a:srgbClr val="B6B1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660B408-B3CF-4A94-85FC-2B1E0A45F4A2}" styleName="Темный стиль 2 —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729" autoAdjust="0"/>
    <p:restoredTop sz="96433" autoAdjust="0"/>
  </p:normalViewPr>
  <p:slideViewPr>
    <p:cSldViewPr>
      <p:cViewPr varScale="1">
        <p:scale>
          <a:sx n="75" d="100"/>
          <a:sy n="75" d="100"/>
        </p:scale>
        <p:origin x="1258" y="58"/>
      </p:cViewPr>
      <p:guideLst>
        <p:guide orient="horz" pos="2495"/>
        <p:guide pos="3482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82" d="100"/>
          <a:sy n="82" d="100"/>
        </p:scale>
        <p:origin x="3972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7.fntdata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font" Target="fonts/font2.fntdata"/><Relationship Id="rId34" Type="http://schemas.openxmlformats.org/officeDocument/2006/relationships/font" Target="fonts/font15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6.fntdata"/><Relationship Id="rId33" Type="http://schemas.openxmlformats.org/officeDocument/2006/relationships/font" Target="fonts/font14.fntdata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1.fntdata"/><Relationship Id="rId29" Type="http://schemas.openxmlformats.org/officeDocument/2006/relationships/font" Target="fonts/font10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5.fntdata"/><Relationship Id="rId32" Type="http://schemas.openxmlformats.org/officeDocument/2006/relationships/font" Target="fonts/font13.fntdata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31" Type="http://schemas.openxmlformats.org/officeDocument/2006/relationships/font" Target="fonts/font12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font" Target="fonts/font11.fntdata"/><Relationship Id="rId35" Type="http://schemas.openxmlformats.org/officeDocument/2006/relationships/font" Target="fonts/font16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hq.fesco.com\public\MSK-FIT\MARKETING\Work\&#1055;&#1088;&#1086;&#1077;&#1082;&#1090;&#1099;\&#1059;&#1089;&#1072;&#1076;&#1099;\USASDY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0.853276803118908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[USASDY.xlsx]Лист1!$I$6</c:f>
              <c:strCache>
                <c:ptCount val="1"/>
                <c:pt idx="0">
                  <c:v>темп прироста российского контейнерного рынка</c:v>
                </c:pt>
              </c:strCache>
            </c:strRef>
          </c:tx>
          <c:spPr>
            <a:solidFill>
              <a:srgbClr val="98292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PT Sans Narrow" panose="020B0506020203020204" pitchFamily="34" charset="-52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[USASDY.xlsx]Лист1!$J$5:$P$5</c:f>
              <c:numCache>
                <c:formatCode>General</c:formatCode>
                <c:ptCount val="7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</c:numCache>
            </c:numRef>
          </c:cat>
          <c:val>
            <c:numRef>
              <c:f>[USASDY.xlsx]Лист1!$J$6:$P$6</c:f>
              <c:numCache>
                <c:formatCode>0.00</c:formatCode>
                <c:ptCount val="7"/>
                <c:pt idx="0">
                  <c:v>3.8502932404276193</c:v>
                </c:pt>
                <c:pt idx="1">
                  <c:v>4.124166911985939</c:v>
                </c:pt>
                <c:pt idx="2">
                  <c:v>4.4479260301245978</c:v>
                </c:pt>
                <c:pt idx="3">
                  <c:v>4.6896078880738941</c:v>
                </c:pt>
                <c:pt idx="4">
                  <c:v>4.9794912867986731</c:v>
                </c:pt>
                <c:pt idx="5">
                  <c:v>5.2190496225059553</c:v>
                </c:pt>
                <c:pt idx="6">
                  <c:v>5.40821377382539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6B-43A3-AF4E-1795F999A59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54708136"/>
        <c:axId val="154708528"/>
      </c:barChart>
      <c:catAx>
        <c:axId val="154708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T Sans Narrow" panose="020B0506020203020204" pitchFamily="34" charset="-52"/>
                <a:ea typeface="+mn-ea"/>
                <a:cs typeface="+mn-cs"/>
              </a:defRPr>
            </a:pPr>
            <a:endParaRPr lang="ru-RU"/>
          </a:p>
        </c:txPr>
        <c:crossAx val="154708528"/>
        <c:crosses val="autoZero"/>
        <c:auto val="1"/>
        <c:lblAlgn val="ctr"/>
        <c:lblOffset val="100"/>
        <c:noMultiLvlLbl val="0"/>
      </c:catAx>
      <c:valAx>
        <c:axId val="154708528"/>
        <c:scaling>
          <c:orientation val="minMax"/>
        </c:scaling>
        <c:delete val="1"/>
        <c:axPos val="l"/>
        <c:numFmt formatCode="0.00" sourceLinked="1"/>
        <c:majorTickMark val="none"/>
        <c:minorTickMark val="none"/>
        <c:tickLblPos val="nextTo"/>
        <c:crossAx val="154708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PT Sans Narrow" panose="020B0506020203020204" pitchFamily="34" charset="-52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255748-08DB-C549-915A-5C42B400A65E}" type="datetimeFigureOut">
              <a:rPr lang="ru-RU" smtClean="0"/>
              <a:t>16.11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D29C41-9061-744D-80BA-E4084A186C0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130150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E7D775-E6A3-41E6-9B1A-EC0C08EC512A}" type="datetimeFigureOut">
              <a:rPr lang="ru-RU" smtClean="0"/>
              <a:t>16.11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62038" y="1241425"/>
            <a:ext cx="46736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7E3241-D10D-4EC1-A546-D785E3D3BA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448838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7E3241-D10D-4EC1-A546-D785E3D3BA0C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0114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7E3241-D10D-4EC1-A546-D785E3D3BA0C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68432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7E3241-D10D-4EC1-A546-D785E3D3BA0C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143427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7E3241-D10D-4EC1-A546-D785E3D3BA0C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33437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7E3241-D10D-4EC1-A546-D785E3D3BA0C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76566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7E3241-D10D-4EC1-A546-D785E3D3BA0C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22643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7E3241-D10D-4EC1-A546-D785E3D3BA0C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39840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7E3241-D10D-4EC1-A546-D785E3D3BA0C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17480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7E3241-D10D-4EC1-A546-D785E3D3BA0C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08732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7E3241-D10D-4EC1-A546-D785E3D3BA0C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35550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7E3241-D10D-4EC1-A546-D785E3D3BA0C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81725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7E3241-D10D-4EC1-A546-D785E3D3BA0C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53840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2720924" y="7526079"/>
            <a:ext cx="302198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+7</a:t>
            </a:r>
            <a:r>
              <a:rPr lang="ru-RU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 </a:t>
            </a:r>
            <a:r>
              <a:rPr lang="en-US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(495) 268</a:t>
            </a:r>
            <a:r>
              <a:rPr lang="ru-RU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 </a:t>
            </a:r>
            <a:r>
              <a:rPr lang="en-US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12</a:t>
            </a:r>
            <a:r>
              <a:rPr lang="ru-RU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 </a:t>
            </a:r>
            <a:r>
              <a:rPr lang="en-US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86</a:t>
            </a:r>
            <a:r>
              <a:rPr lang="ru-RU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 </a:t>
            </a:r>
            <a:r>
              <a:rPr lang="en-US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| www.freightvillage.ru</a:t>
            </a:r>
            <a:endParaRPr lang="ru-RU" sz="1500" dirty="0">
              <a:solidFill>
                <a:schemeClr val="bg1"/>
              </a:solidFill>
              <a:latin typeface="PT Sans Narrow" panose="020B0506020203020204" pitchFamily="34" charset="-52"/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053763" cy="7921625"/>
          </a:xfrm>
          <a:prstGeom prst="rect">
            <a:avLst/>
          </a:prstGeom>
        </p:spPr>
      </p:pic>
      <p:sp>
        <p:nvSpPr>
          <p:cNvPr id="14" name="Параллелограмм 13"/>
          <p:cNvSpPr/>
          <p:nvPr userDrawn="1"/>
        </p:nvSpPr>
        <p:spPr>
          <a:xfrm>
            <a:off x="-1025847" y="5212544"/>
            <a:ext cx="6912768" cy="5256956"/>
          </a:xfrm>
          <a:prstGeom prst="parallelogram">
            <a:avLst/>
          </a:prstGeom>
          <a:solidFill>
            <a:srgbClr val="9829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15" name="TextBox 14"/>
          <p:cNvSpPr txBox="1"/>
          <p:nvPr userDrawn="1"/>
        </p:nvSpPr>
        <p:spPr>
          <a:xfrm rot="17067624">
            <a:off x="4268888" y="6494091"/>
            <a:ext cx="1467068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+7</a:t>
            </a:r>
            <a:r>
              <a:rPr lang="ru-RU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 </a:t>
            </a:r>
            <a:r>
              <a:rPr lang="en-US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(495) 741</a:t>
            </a:r>
            <a:r>
              <a:rPr lang="en-US" sz="1500" baseline="0" dirty="0">
                <a:solidFill>
                  <a:schemeClr val="bg1"/>
                </a:solidFill>
                <a:latin typeface="PT Sans Narrow" panose="020B0506020203020204" pitchFamily="34" charset="-52"/>
              </a:rPr>
              <a:t> 87 74</a:t>
            </a:r>
            <a:endParaRPr lang="ru-RU" sz="1500" dirty="0">
              <a:solidFill>
                <a:schemeClr val="bg1"/>
              </a:solidFill>
              <a:latin typeface="PT Sans Narrow" panose="020B0506020203020204" pitchFamily="34" charset="-52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416" y="7476185"/>
            <a:ext cx="1873081" cy="364837"/>
          </a:xfrm>
          <a:prstGeom prst="rect">
            <a:avLst/>
          </a:prstGeom>
        </p:spPr>
      </p:pic>
      <p:sp>
        <p:nvSpPr>
          <p:cNvPr id="17" name="Параллелограмм 16"/>
          <p:cNvSpPr/>
          <p:nvPr userDrawn="1"/>
        </p:nvSpPr>
        <p:spPr>
          <a:xfrm>
            <a:off x="-1673919" y="4763779"/>
            <a:ext cx="6912768" cy="5256956"/>
          </a:xfrm>
          <a:prstGeom prst="parallelogram">
            <a:avLst/>
          </a:prstGeom>
          <a:solidFill>
            <a:srgbClr val="B6B1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>
              <a:latin typeface="PT Sans Narrow" panose="020B0604020202020204" charset="-52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 rot="17067624">
            <a:off x="4426579" y="6497366"/>
            <a:ext cx="162256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www.freightvillage.ru</a:t>
            </a:r>
            <a:endParaRPr lang="ru-RU" sz="1500" dirty="0">
              <a:solidFill>
                <a:schemeClr val="bg1"/>
              </a:solidFill>
              <a:latin typeface="PT Sans Narrow" panose="020B0506020203020204" pitchFamily="34" charset="-52"/>
            </a:endParaRPr>
          </a:p>
        </p:txBody>
      </p:sp>
      <p:pic>
        <p:nvPicPr>
          <p:cNvPr id="19" name="Рисунок 1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9816" y="7489204"/>
            <a:ext cx="1873081" cy="364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1615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Рисунок 1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92" r="2750"/>
          <a:stretch/>
        </p:blipFill>
        <p:spPr>
          <a:xfrm>
            <a:off x="-17735" y="-5139"/>
            <a:ext cx="11089232" cy="7926763"/>
          </a:xfrm>
          <a:prstGeom prst="rect">
            <a:avLst/>
          </a:prstGeom>
        </p:spPr>
      </p:pic>
      <p:sp>
        <p:nvSpPr>
          <p:cNvPr id="13" name="Параллелограмм 12"/>
          <p:cNvSpPr/>
          <p:nvPr userDrawn="1"/>
        </p:nvSpPr>
        <p:spPr>
          <a:xfrm>
            <a:off x="4411512" y="5293147"/>
            <a:ext cx="6912768" cy="5256956"/>
          </a:xfrm>
          <a:prstGeom prst="parallelogram">
            <a:avLst/>
          </a:prstGeom>
          <a:solidFill>
            <a:srgbClr val="9829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19" name="Параллелограмм 18"/>
          <p:cNvSpPr/>
          <p:nvPr userDrawn="1"/>
        </p:nvSpPr>
        <p:spPr>
          <a:xfrm>
            <a:off x="5197101" y="4752900"/>
            <a:ext cx="6912768" cy="5184948"/>
          </a:xfrm>
          <a:prstGeom prst="parallelogram">
            <a:avLst/>
          </a:prstGeom>
          <a:solidFill>
            <a:srgbClr val="B6B1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>
              <a:latin typeface="PT Sans Narrow" panose="020B0604020202020204" charset="-52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 rot="17058871">
            <a:off x="4801496" y="6638221"/>
            <a:ext cx="1467068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+7</a:t>
            </a:r>
            <a:r>
              <a:rPr lang="ru-RU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 </a:t>
            </a:r>
            <a:r>
              <a:rPr lang="en-US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(495) 741</a:t>
            </a:r>
            <a:r>
              <a:rPr lang="en-US" sz="1500" baseline="0" dirty="0">
                <a:solidFill>
                  <a:schemeClr val="bg1"/>
                </a:solidFill>
                <a:latin typeface="PT Sans Narrow" panose="020B0506020203020204" pitchFamily="34" charset="-52"/>
              </a:rPr>
              <a:t> 87 74</a:t>
            </a:r>
            <a:endParaRPr lang="ru-RU" sz="1500" dirty="0">
              <a:solidFill>
                <a:schemeClr val="bg1"/>
              </a:solidFill>
              <a:latin typeface="PT Sans Narrow" panose="020B0506020203020204" pitchFamily="34" charset="-52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 rot="17058871">
            <a:off x="4959187" y="6641496"/>
            <a:ext cx="162256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www.freightvillage.ru</a:t>
            </a:r>
            <a:endParaRPr lang="ru-RU" sz="1500" dirty="0">
              <a:solidFill>
                <a:schemeClr val="bg1"/>
              </a:solidFill>
              <a:latin typeface="PT Sans Narrow" panose="020B0506020203020204" pitchFamily="34" charset="-52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49920" y="7476185"/>
            <a:ext cx="1873081" cy="364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88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олилиния 12"/>
          <p:cNvSpPr/>
          <p:nvPr/>
        </p:nvSpPr>
        <p:spPr>
          <a:xfrm>
            <a:off x="659" y="331336"/>
            <a:ext cx="695325" cy="2776047"/>
          </a:xfrm>
          <a:custGeom>
            <a:avLst/>
            <a:gdLst>
              <a:gd name="connsiteX0" fmla="*/ 0 w 657225"/>
              <a:gd name="connsiteY0" fmla="*/ 0 h 2162175"/>
              <a:gd name="connsiteX1" fmla="*/ 657225 w 657225"/>
              <a:gd name="connsiteY1" fmla="*/ 9525 h 2162175"/>
              <a:gd name="connsiteX2" fmla="*/ 19050 w 657225"/>
              <a:gd name="connsiteY2" fmla="*/ 2162175 h 2162175"/>
              <a:gd name="connsiteX3" fmla="*/ 0 w 657225"/>
              <a:gd name="connsiteY3" fmla="*/ 0 h 2162175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52992"/>
              <a:gd name="connsiteX1" fmla="*/ 657225 w 657225"/>
              <a:gd name="connsiteY1" fmla="*/ 9525 h 2152992"/>
              <a:gd name="connsiteX2" fmla="*/ 0 w 657225"/>
              <a:gd name="connsiteY2" fmla="*/ 2152992 h 2152992"/>
              <a:gd name="connsiteX3" fmla="*/ 0 w 657225"/>
              <a:gd name="connsiteY3" fmla="*/ 0 h 2152992"/>
              <a:gd name="connsiteX0" fmla="*/ 0 w 657225"/>
              <a:gd name="connsiteY0" fmla="*/ 17738 h 2170730"/>
              <a:gd name="connsiteX1" fmla="*/ 657225 w 657225"/>
              <a:gd name="connsiteY1" fmla="*/ 0 h 2170730"/>
              <a:gd name="connsiteX2" fmla="*/ 0 w 657225"/>
              <a:gd name="connsiteY2" fmla="*/ 2170730 h 2170730"/>
              <a:gd name="connsiteX3" fmla="*/ 0 w 657225"/>
              <a:gd name="connsiteY3" fmla="*/ 17738 h 2170730"/>
              <a:gd name="connsiteX0" fmla="*/ 0 w 657225"/>
              <a:gd name="connsiteY0" fmla="*/ 0 h 2171168"/>
              <a:gd name="connsiteX1" fmla="*/ 657225 w 657225"/>
              <a:gd name="connsiteY1" fmla="*/ 438 h 2171168"/>
              <a:gd name="connsiteX2" fmla="*/ 0 w 657225"/>
              <a:gd name="connsiteY2" fmla="*/ 2171168 h 2171168"/>
              <a:gd name="connsiteX3" fmla="*/ 0 w 657225"/>
              <a:gd name="connsiteY3" fmla="*/ 0 h 2171168"/>
              <a:gd name="connsiteX0" fmla="*/ 0 w 695325"/>
              <a:gd name="connsiteY0" fmla="*/ 0 h 2171168"/>
              <a:gd name="connsiteX1" fmla="*/ 695325 w 695325"/>
              <a:gd name="connsiteY1" fmla="*/ 438 h 2171168"/>
              <a:gd name="connsiteX2" fmla="*/ 0 w 695325"/>
              <a:gd name="connsiteY2" fmla="*/ 2171168 h 2171168"/>
              <a:gd name="connsiteX3" fmla="*/ 0 w 695325"/>
              <a:gd name="connsiteY3" fmla="*/ 0 h 2171168"/>
              <a:gd name="connsiteX0" fmla="*/ 9525 w 704850"/>
              <a:gd name="connsiteY0" fmla="*/ 0 h 2676201"/>
              <a:gd name="connsiteX1" fmla="*/ 704850 w 704850"/>
              <a:gd name="connsiteY1" fmla="*/ 438 h 2676201"/>
              <a:gd name="connsiteX2" fmla="*/ 0 w 704850"/>
              <a:gd name="connsiteY2" fmla="*/ 2676201 h 2676201"/>
              <a:gd name="connsiteX3" fmla="*/ 9525 w 704850"/>
              <a:gd name="connsiteY3" fmla="*/ 0 h 2676201"/>
              <a:gd name="connsiteX0" fmla="*/ 0 w 695325"/>
              <a:gd name="connsiteY0" fmla="*/ 0 h 2667019"/>
              <a:gd name="connsiteX1" fmla="*/ 695325 w 695325"/>
              <a:gd name="connsiteY1" fmla="*/ 438 h 2667019"/>
              <a:gd name="connsiteX2" fmla="*/ 9525 w 695325"/>
              <a:gd name="connsiteY2" fmla="*/ 2667019 h 2667019"/>
              <a:gd name="connsiteX3" fmla="*/ 0 w 695325"/>
              <a:gd name="connsiteY3" fmla="*/ 0 h 2667019"/>
              <a:gd name="connsiteX0" fmla="*/ 0 w 695325"/>
              <a:gd name="connsiteY0" fmla="*/ 0 h 2667019"/>
              <a:gd name="connsiteX1" fmla="*/ 695325 w 695325"/>
              <a:gd name="connsiteY1" fmla="*/ 438 h 2667019"/>
              <a:gd name="connsiteX2" fmla="*/ 9525 w 695325"/>
              <a:gd name="connsiteY2" fmla="*/ 2667019 h 2667019"/>
              <a:gd name="connsiteX3" fmla="*/ 0 w 695325"/>
              <a:gd name="connsiteY3" fmla="*/ 0 h 2667019"/>
              <a:gd name="connsiteX0" fmla="*/ 0 w 695325"/>
              <a:gd name="connsiteY0" fmla="*/ 0 h 2676201"/>
              <a:gd name="connsiteX1" fmla="*/ 695325 w 695325"/>
              <a:gd name="connsiteY1" fmla="*/ 438 h 2676201"/>
              <a:gd name="connsiteX2" fmla="*/ 0 w 695325"/>
              <a:gd name="connsiteY2" fmla="*/ 2676201 h 2676201"/>
              <a:gd name="connsiteX3" fmla="*/ 0 w 695325"/>
              <a:gd name="connsiteY3" fmla="*/ 0 h 2676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325" h="2676201">
                <a:moveTo>
                  <a:pt x="0" y="0"/>
                </a:moveTo>
                <a:lnTo>
                  <a:pt x="695325" y="438"/>
                </a:lnTo>
                <a:lnTo>
                  <a:pt x="0" y="2676201"/>
                </a:lnTo>
                <a:lnTo>
                  <a:pt x="0" y="0"/>
                </a:lnTo>
                <a:close/>
              </a:path>
            </a:pathLst>
          </a:custGeom>
          <a:solidFill>
            <a:srgbClr val="9829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4" name="Полилиния 13"/>
          <p:cNvSpPr/>
          <p:nvPr/>
        </p:nvSpPr>
        <p:spPr>
          <a:xfrm>
            <a:off x="0" y="0"/>
            <a:ext cx="428625" cy="1743075"/>
          </a:xfrm>
          <a:custGeom>
            <a:avLst/>
            <a:gdLst>
              <a:gd name="connsiteX0" fmla="*/ 0 w 447675"/>
              <a:gd name="connsiteY0" fmla="*/ 0 h 1447800"/>
              <a:gd name="connsiteX1" fmla="*/ 447675 w 447675"/>
              <a:gd name="connsiteY1" fmla="*/ 0 h 1447800"/>
              <a:gd name="connsiteX2" fmla="*/ 19050 w 447675"/>
              <a:gd name="connsiteY2" fmla="*/ 1447800 h 1447800"/>
              <a:gd name="connsiteX3" fmla="*/ 0 w 447675"/>
              <a:gd name="connsiteY3" fmla="*/ 0 h 1447800"/>
              <a:gd name="connsiteX0" fmla="*/ 0 w 447675"/>
              <a:gd name="connsiteY0" fmla="*/ 0 h 1476375"/>
              <a:gd name="connsiteX1" fmla="*/ 447675 w 447675"/>
              <a:gd name="connsiteY1" fmla="*/ 0 h 1476375"/>
              <a:gd name="connsiteX2" fmla="*/ 9525 w 447675"/>
              <a:gd name="connsiteY2" fmla="*/ 1476375 h 1476375"/>
              <a:gd name="connsiteX3" fmla="*/ 0 w 447675"/>
              <a:gd name="connsiteY3" fmla="*/ 0 h 1476375"/>
              <a:gd name="connsiteX0" fmla="*/ 0 w 438150"/>
              <a:gd name="connsiteY0" fmla="*/ 28575 h 1476375"/>
              <a:gd name="connsiteX1" fmla="*/ 438150 w 438150"/>
              <a:gd name="connsiteY1" fmla="*/ 0 h 1476375"/>
              <a:gd name="connsiteX2" fmla="*/ 0 w 438150"/>
              <a:gd name="connsiteY2" fmla="*/ 1476375 h 1476375"/>
              <a:gd name="connsiteX3" fmla="*/ 0 w 438150"/>
              <a:gd name="connsiteY3" fmla="*/ 28575 h 1476375"/>
              <a:gd name="connsiteX0" fmla="*/ 9525 w 438150"/>
              <a:gd name="connsiteY0" fmla="*/ 9525 h 1476375"/>
              <a:gd name="connsiteX1" fmla="*/ 438150 w 438150"/>
              <a:gd name="connsiteY1" fmla="*/ 0 h 1476375"/>
              <a:gd name="connsiteX2" fmla="*/ 0 w 438150"/>
              <a:gd name="connsiteY2" fmla="*/ 1476375 h 1476375"/>
              <a:gd name="connsiteX3" fmla="*/ 9525 w 438150"/>
              <a:gd name="connsiteY3" fmla="*/ 9525 h 1476375"/>
              <a:gd name="connsiteX0" fmla="*/ 0 w 428625"/>
              <a:gd name="connsiteY0" fmla="*/ 9525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0 w 428625"/>
              <a:gd name="connsiteY3" fmla="*/ 9525 h 1504950"/>
              <a:gd name="connsiteX0" fmla="*/ 19050 w 428625"/>
              <a:gd name="connsiteY0" fmla="*/ 0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19050 w 428625"/>
              <a:gd name="connsiteY3" fmla="*/ 0 h 1504950"/>
              <a:gd name="connsiteX0" fmla="*/ 0 w 428625"/>
              <a:gd name="connsiteY0" fmla="*/ 0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0 w 428625"/>
              <a:gd name="connsiteY3" fmla="*/ 0 h 1504950"/>
              <a:gd name="connsiteX0" fmla="*/ 0 w 428625"/>
              <a:gd name="connsiteY0" fmla="*/ 0 h 1581150"/>
              <a:gd name="connsiteX1" fmla="*/ 428625 w 428625"/>
              <a:gd name="connsiteY1" fmla="*/ 0 h 1581150"/>
              <a:gd name="connsiteX2" fmla="*/ 0 w 428625"/>
              <a:gd name="connsiteY2" fmla="*/ 1581150 h 1581150"/>
              <a:gd name="connsiteX3" fmla="*/ 0 w 428625"/>
              <a:gd name="connsiteY3" fmla="*/ 0 h 1581150"/>
              <a:gd name="connsiteX0" fmla="*/ 0 w 428625"/>
              <a:gd name="connsiteY0" fmla="*/ 0 h 1743075"/>
              <a:gd name="connsiteX1" fmla="*/ 428625 w 428625"/>
              <a:gd name="connsiteY1" fmla="*/ 0 h 1743075"/>
              <a:gd name="connsiteX2" fmla="*/ 0 w 428625"/>
              <a:gd name="connsiteY2" fmla="*/ 1743075 h 1743075"/>
              <a:gd name="connsiteX3" fmla="*/ 0 w 428625"/>
              <a:gd name="connsiteY3" fmla="*/ 0 h 1743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8625" h="1743075">
                <a:moveTo>
                  <a:pt x="0" y="0"/>
                </a:moveTo>
                <a:lnTo>
                  <a:pt x="428625" y="0"/>
                </a:lnTo>
                <a:lnTo>
                  <a:pt x="0" y="1743075"/>
                </a:lnTo>
                <a:lnTo>
                  <a:pt x="0" y="0"/>
                </a:lnTo>
                <a:close/>
              </a:path>
            </a:pathLst>
          </a:custGeom>
          <a:solidFill>
            <a:srgbClr val="6E6B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олилиния 14"/>
          <p:cNvSpPr/>
          <p:nvPr userDrawn="1"/>
        </p:nvSpPr>
        <p:spPr>
          <a:xfrm>
            <a:off x="6718423" y="331336"/>
            <a:ext cx="4337812" cy="438410"/>
          </a:xfrm>
          <a:custGeom>
            <a:avLst/>
            <a:gdLst>
              <a:gd name="connsiteX0" fmla="*/ 76200 w 3352800"/>
              <a:gd name="connsiteY0" fmla="*/ 0 h 438150"/>
              <a:gd name="connsiteX1" fmla="*/ 3352800 w 3352800"/>
              <a:gd name="connsiteY1" fmla="*/ 9525 h 438150"/>
              <a:gd name="connsiteX2" fmla="*/ 3352800 w 3352800"/>
              <a:gd name="connsiteY2" fmla="*/ 438150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52800"/>
              <a:gd name="connsiteY0" fmla="*/ 0 h 438150"/>
              <a:gd name="connsiteX1" fmla="*/ 3343275 w 3352800"/>
              <a:gd name="connsiteY1" fmla="*/ 0 h 438150"/>
              <a:gd name="connsiteX2" fmla="*/ 3352800 w 3352800"/>
              <a:gd name="connsiteY2" fmla="*/ 438150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43275"/>
              <a:gd name="connsiteY0" fmla="*/ 0 h 438150"/>
              <a:gd name="connsiteX1" fmla="*/ 3343275 w 3343275"/>
              <a:gd name="connsiteY1" fmla="*/ 0 h 438150"/>
              <a:gd name="connsiteX2" fmla="*/ 3333750 w 3343275"/>
              <a:gd name="connsiteY2" fmla="*/ 438150 h 438150"/>
              <a:gd name="connsiteX3" fmla="*/ 0 w 3343275"/>
              <a:gd name="connsiteY3" fmla="*/ 438150 h 438150"/>
              <a:gd name="connsiteX4" fmla="*/ 76200 w 3343275"/>
              <a:gd name="connsiteY4" fmla="*/ 0 h 438150"/>
              <a:gd name="connsiteX0" fmla="*/ 76200 w 3352800"/>
              <a:gd name="connsiteY0" fmla="*/ 0 h 438150"/>
              <a:gd name="connsiteX1" fmla="*/ 3343275 w 3352800"/>
              <a:gd name="connsiteY1" fmla="*/ 0 h 438150"/>
              <a:gd name="connsiteX2" fmla="*/ 3352800 w 3352800"/>
              <a:gd name="connsiteY2" fmla="*/ 428625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43275"/>
              <a:gd name="connsiteY0" fmla="*/ 0 h 447675"/>
              <a:gd name="connsiteX1" fmla="*/ 3343275 w 3343275"/>
              <a:gd name="connsiteY1" fmla="*/ 0 h 447675"/>
              <a:gd name="connsiteX2" fmla="*/ 3333750 w 3343275"/>
              <a:gd name="connsiteY2" fmla="*/ 447675 h 447675"/>
              <a:gd name="connsiteX3" fmla="*/ 0 w 3343275"/>
              <a:gd name="connsiteY3" fmla="*/ 438150 h 447675"/>
              <a:gd name="connsiteX4" fmla="*/ 76200 w 3343275"/>
              <a:gd name="connsiteY4" fmla="*/ 0 h 447675"/>
              <a:gd name="connsiteX0" fmla="*/ 76200 w 3343275"/>
              <a:gd name="connsiteY0" fmla="*/ 0 h 438150"/>
              <a:gd name="connsiteX1" fmla="*/ 3343275 w 3343275"/>
              <a:gd name="connsiteY1" fmla="*/ 0 h 438150"/>
              <a:gd name="connsiteX2" fmla="*/ 3343275 w 3343275"/>
              <a:gd name="connsiteY2" fmla="*/ 438150 h 438150"/>
              <a:gd name="connsiteX3" fmla="*/ 0 w 3343275"/>
              <a:gd name="connsiteY3" fmla="*/ 438150 h 438150"/>
              <a:gd name="connsiteX4" fmla="*/ 76200 w 3343275"/>
              <a:gd name="connsiteY4" fmla="*/ 0 h 438150"/>
              <a:gd name="connsiteX0" fmla="*/ 144439 w 3411514"/>
              <a:gd name="connsiteY0" fmla="*/ 0 h 438150"/>
              <a:gd name="connsiteX1" fmla="*/ 3411514 w 3411514"/>
              <a:gd name="connsiteY1" fmla="*/ 0 h 438150"/>
              <a:gd name="connsiteX2" fmla="*/ 3411514 w 3411514"/>
              <a:gd name="connsiteY2" fmla="*/ 438150 h 438150"/>
              <a:gd name="connsiteX3" fmla="*/ 0 w 3411514"/>
              <a:gd name="connsiteY3" fmla="*/ 438150 h 438150"/>
              <a:gd name="connsiteX4" fmla="*/ 144439 w 3411514"/>
              <a:gd name="connsiteY4" fmla="*/ 0 h 438150"/>
              <a:gd name="connsiteX0" fmla="*/ 117143 w 3384218"/>
              <a:gd name="connsiteY0" fmla="*/ 0 h 438150"/>
              <a:gd name="connsiteX1" fmla="*/ 3384218 w 3384218"/>
              <a:gd name="connsiteY1" fmla="*/ 0 h 438150"/>
              <a:gd name="connsiteX2" fmla="*/ 3384218 w 3384218"/>
              <a:gd name="connsiteY2" fmla="*/ 438150 h 438150"/>
              <a:gd name="connsiteX3" fmla="*/ 0 w 3384218"/>
              <a:gd name="connsiteY3" fmla="*/ 438150 h 438150"/>
              <a:gd name="connsiteX4" fmla="*/ 117143 w 3384218"/>
              <a:gd name="connsiteY4" fmla="*/ 0 h 438150"/>
              <a:gd name="connsiteX0" fmla="*/ 117143 w 4325913"/>
              <a:gd name="connsiteY0" fmla="*/ 0 h 438150"/>
              <a:gd name="connsiteX1" fmla="*/ 4325913 w 4325913"/>
              <a:gd name="connsiteY1" fmla="*/ 0 h 438150"/>
              <a:gd name="connsiteX2" fmla="*/ 3384218 w 4325913"/>
              <a:gd name="connsiteY2" fmla="*/ 438150 h 438150"/>
              <a:gd name="connsiteX3" fmla="*/ 0 w 4325913"/>
              <a:gd name="connsiteY3" fmla="*/ 438150 h 438150"/>
              <a:gd name="connsiteX4" fmla="*/ 117143 w 4325913"/>
              <a:gd name="connsiteY4" fmla="*/ 0 h 438150"/>
              <a:gd name="connsiteX0" fmla="*/ 117143 w 4325913"/>
              <a:gd name="connsiteY0" fmla="*/ 0 h 451798"/>
              <a:gd name="connsiteX1" fmla="*/ 4325913 w 4325913"/>
              <a:gd name="connsiteY1" fmla="*/ 0 h 451798"/>
              <a:gd name="connsiteX2" fmla="*/ 4312266 w 4325913"/>
              <a:gd name="connsiteY2" fmla="*/ 451798 h 451798"/>
              <a:gd name="connsiteX3" fmla="*/ 0 w 4325913"/>
              <a:gd name="connsiteY3" fmla="*/ 438150 h 451798"/>
              <a:gd name="connsiteX4" fmla="*/ 117143 w 4325913"/>
              <a:gd name="connsiteY4" fmla="*/ 0 h 451798"/>
              <a:gd name="connsiteX0" fmla="*/ 117143 w 4325914"/>
              <a:gd name="connsiteY0" fmla="*/ 0 h 438150"/>
              <a:gd name="connsiteX1" fmla="*/ 4325913 w 4325914"/>
              <a:gd name="connsiteY1" fmla="*/ 0 h 438150"/>
              <a:gd name="connsiteX2" fmla="*/ 4325914 w 4325914"/>
              <a:gd name="connsiteY2" fmla="*/ 438150 h 438150"/>
              <a:gd name="connsiteX3" fmla="*/ 0 w 4325914"/>
              <a:gd name="connsiteY3" fmla="*/ 438150 h 438150"/>
              <a:gd name="connsiteX4" fmla="*/ 117143 w 4325914"/>
              <a:gd name="connsiteY4" fmla="*/ 0 h 438150"/>
              <a:gd name="connsiteX0" fmla="*/ 117143 w 4339562"/>
              <a:gd name="connsiteY0" fmla="*/ 0 h 451797"/>
              <a:gd name="connsiteX1" fmla="*/ 4325913 w 4339562"/>
              <a:gd name="connsiteY1" fmla="*/ 0 h 451797"/>
              <a:gd name="connsiteX2" fmla="*/ 4339562 w 4339562"/>
              <a:gd name="connsiteY2" fmla="*/ 451797 h 451797"/>
              <a:gd name="connsiteX3" fmla="*/ 0 w 4339562"/>
              <a:gd name="connsiteY3" fmla="*/ 438150 h 451797"/>
              <a:gd name="connsiteX4" fmla="*/ 117143 w 4339562"/>
              <a:gd name="connsiteY4" fmla="*/ 0 h 451797"/>
              <a:gd name="connsiteX0" fmla="*/ 117143 w 4325913"/>
              <a:gd name="connsiteY0" fmla="*/ 0 h 451797"/>
              <a:gd name="connsiteX1" fmla="*/ 4325913 w 4325913"/>
              <a:gd name="connsiteY1" fmla="*/ 0 h 451797"/>
              <a:gd name="connsiteX2" fmla="*/ 4312266 w 4325913"/>
              <a:gd name="connsiteY2" fmla="*/ 451797 h 451797"/>
              <a:gd name="connsiteX3" fmla="*/ 0 w 4325913"/>
              <a:gd name="connsiteY3" fmla="*/ 438150 h 451797"/>
              <a:gd name="connsiteX4" fmla="*/ 117143 w 4325913"/>
              <a:gd name="connsiteY4" fmla="*/ 0 h 451797"/>
              <a:gd name="connsiteX0" fmla="*/ 117143 w 4325914"/>
              <a:gd name="connsiteY0" fmla="*/ 0 h 438150"/>
              <a:gd name="connsiteX1" fmla="*/ 4325913 w 4325914"/>
              <a:gd name="connsiteY1" fmla="*/ 0 h 438150"/>
              <a:gd name="connsiteX2" fmla="*/ 4325914 w 4325914"/>
              <a:gd name="connsiteY2" fmla="*/ 424502 h 438150"/>
              <a:gd name="connsiteX3" fmla="*/ 0 w 4325914"/>
              <a:gd name="connsiteY3" fmla="*/ 438150 h 438150"/>
              <a:gd name="connsiteX4" fmla="*/ 117143 w 4325914"/>
              <a:gd name="connsiteY4" fmla="*/ 0 h 438150"/>
              <a:gd name="connsiteX0" fmla="*/ 117143 w 4325913"/>
              <a:gd name="connsiteY0" fmla="*/ 0 h 438409"/>
              <a:gd name="connsiteX1" fmla="*/ 4325913 w 4325913"/>
              <a:gd name="connsiteY1" fmla="*/ 0 h 438409"/>
              <a:gd name="connsiteX2" fmla="*/ 4318960 w 4325913"/>
              <a:gd name="connsiteY2" fmla="*/ 438409 h 438409"/>
              <a:gd name="connsiteX3" fmla="*/ 0 w 4325913"/>
              <a:gd name="connsiteY3" fmla="*/ 438150 h 438409"/>
              <a:gd name="connsiteX4" fmla="*/ 117143 w 4325913"/>
              <a:gd name="connsiteY4" fmla="*/ 0 h 438409"/>
              <a:gd name="connsiteX0" fmla="*/ 154850 w 4325913"/>
              <a:gd name="connsiteY0" fmla="*/ 9427 h 438409"/>
              <a:gd name="connsiteX1" fmla="*/ 4325913 w 4325913"/>
              <a:gd name="connsiteY1" fmla="*/ 0 h 438409"/>
              <a:gd name="connsiteX2" fmla="*/ 4318960 w 4325913"/>
              <a:gd name="connsiteY2" fmla="*/ 438409 h 438409"/>
              <a:gd name="connsiteX3" fmla="*/ 0 w 4325913"/>
              <a:gd name="connsiteY3" fmla="*/ 438150 h 438409"/>
              <a:gd name="connsiteX4" fmla="*/ 154850 w 4325913"/>
              <a:gd name="connsiteY4" fmla="*/ 9427 h 438409"/>
              <a:gd name="connsiteX0" fmla="*/ 117143 w 4288206"/>
              <a:gd name="connsiteY0" fmla="*/ 9427 h 438409"/>
              <a:gd name="connsiteX1" fmla="*/ 4288206 w 4288206"/>
              <a:gd name="connsiteY1" fmla="*/ 0 h 438409"/>
              <a:gd name="connsiteX2" fmla="*/ 4281253 w 4288206"/>
              <a:gd name="connsiteY2" fmla="*/ 438409 h 438409"/>
              <a:gd name="connsiteX3" fmla="*/ 0 w 4288206"/>
              <a:gd name="connsiteY3" fmla="*/ 428723 h 438409"/>
              <a:gd name="connsiteX4" fmla="*/ 117143 w 4288206"/>
              <a:gd name="connsiteY4" fmla="*/ 9427 h 438409"/>
              <a:gd name="connsiteX0" fmla="*/ 126570 w 4288206"/>
              <a:gd name="connsiteY0" fmla="*/ 0 h 438409"/>
              <a:gd name="connsiteX1" fmla="*/ 4288206 w 4288206"/>
              <a:gd name="connsiteY1" fmla="*/ 0 h 438409"/>
              <a:gd name="connsiteX2" fmla="*/ 4281253 w 4288206"/>
              <a:gd name="connsiteY2" fmla="*/ 438409 h 438409"/>
              <a:gd name="connsiteX3" fmla="*/ 0 w 4288206"/>
              <a:gd name="connsiteY3" fmla="*/ 428723 h 438409"/>
              <a:gd name="connsiteX4" fmla="*/ 126570 w 4288206"/>
              <a:gd name="connsiteY4" fmla="*/ 0 h 438409"/>
              <a:gd name="connsiteX0" fmla="*/ 107716 w 4269352"/>
              <a:gd name="connsiteY0" fmla="*/ 0 h 438409"/>
              <a:gd name="connsiteX1" fmla="*/ 4269352 w 4269352"/>
              <a:gd name="connsiteY1" fmla="*/ 0 h 438409"/>
              <a:gd name="connsiteX2" fmla="*/ 4262399 w 4269352"/>
              <a:gd name="connsiteY2" fmla="*/ 438409 h 438409"/>
              <a:gd name="connsiteX3" fmla="*/ 0 w 4269352"/>
              <a:gd name="connsiteY3" fmla="*/ 428723 h 438409"/>
              <a:gd name="connsiteX4" fmla="*/ 107716 w 4269352"/>
              <a:gd name="connsiteY4" fmla="*/ 0 h 438409"/>
              <a:gd name="connsiteX0" fmla="*/ 126569 w 4288205"/>
              <a:gd name="connsiteY0" fmla="*/ 0 h 438409"/>
              <a:gd name="connsiteX1" fmla="*/ 4288205 w 4288205"/>
              <a:gd name="connsiteY1" fmla="*/ 0 h 438409"/>
              <a:gd name="connsiteX2" fmla="*/ 4281252 w 4288205"/>
              <a:gd name="connsiteY2" fmla="*/ 438409 h 438409"/>
              <a:gd name="connsiteX3" fmla="*/ 0 w 4288205"/>
              <a:gd name="connsiteY3" fmla="*/ 428723 h 438409"/>
              <a:gd name="connsiteX4" fmla="*/ 126569 w 4288205"/>
              <a:gd name="connsiteY4" fmla="*/ 0 h 438409"/>
              <a:gd name="connsiteX0" fmla="*/ 126569 w 4288205"/>
              <a:gd name="connsiteY0" fmla="*/ 0 h 438409"/>
              <a:gd name="connsiteX1" fmla="*/ 4288205 w 4288205"/>
              <a:gd name="connsiteY1" fmla="*/ 0 h 438409"/>
              <a:gd name="connsiteX2" fmla="*/ 4281252 w 4288205"/>
              <a:gd name="connsiteY2" fmla="*/ 438409 h 438409"/>
              <a:gd name="connsiteX3" fmla="*/ 0 w 4288205"/>
              <a:gd name="connsiteY3" fmla="*/ 428723 h 438409"/>
              <a:gd name="connsiteX4" fmla="*/ 126569 w 4288205"/>
              <a:gd name="connsiteY4" fmla="*/ 0 h 438409"/>
              <a:gd name="connsiteX0" fmla="*/ 135995 w 4297631"/>
              <a:gd name="connsiteY0" fmla="*/ 0 h 438409"/>
              <a:gd name="connsiteX1" fmla="*/ 4297631 w 4297631"/>
              <a:gd name="connsiteY1" fmla="*/ 0 h 438409"/>
              <a:gd name="connsiteX2" fmla="*/ 4290678 w 4297631"/>
              <a:gd name="connsiteY2" fmla="*/ 438409 h 438409"/>
              <a:gd name="connsiteX3" fmla="*/ 0 w 4297631"/>
              <a:gd name="connsiteY3" fmla="*/ 438150 h 438409"/>
              <a:gd name="connsiteX4" fmla="*/ 135995 w 4297631"/>
              <a:gd name="connsiteY4" fmla="*/ 0 h 438409"/>
              <a:gd name="connsiteX0" fmla="*/ 135995 w 4309531"/>
              <a:gd name="connsiteY0" fmla="*/ 0 h 438150"/>
              <a:gd name="connsiteX1" fmla="*/ 4297631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16484"/>
              <a:gd name="connsiteY0" fmla="*/ 0 h 438150"/>
              <a:gd name="connsiteX1" fmla="*/ 4316484 w 4316484"/>
              <a:gd name="connsiteY1" fmla="*/ 0 h 438150"/>
              <a:gd name="connsiteX2" fmla="*/ 4309531 w 4316484"/>
              <a:gd name="connsiteY2" fmla="*/ 428983 h 438150"/>
              <a:gd name="connsiteX3" fmla="*/ 0 w 4316484"/>
              <a:gd name="connsiteY3" fmla="*/ 438150 h 438150"/>
              <a:gd name="connsiteX4" fmla="*/ 135995 w 4316484"/>
              <a:gd name="connsiteY4" fmla="*/ 0 h 438150"/>
              <a:gd name="connsiteX0" fmla="*/ 135995 w 4309531"/>
              <a:gd name="connsiteY0" fmla="*/ 0 h 438150"/>
              <a:gd name="connsiteX1" fmla="*/ 4307057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09531"/>
              <a:gd name="connsiteY0" fmla="*/ 0 h 438150"/>
              <a:gd name="connsiteX1" fmla="*/ 4307057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07057"/>
              <a:gd name="connsiteY0" fmla="*/ 0 h 438410"/>
              <a:gd name="connsiteX1" fmla="*/ 4307057 w 4307057"/>
              <a:gd name="connsiteY1" fmla="*/ 0 h 438410"/>
              <a:gd name="connsiteX2" fmla="*/ 4300104 w 4307057"/>
              <a:gd name="connsiteY2" fmla="*/ 438410 h 438410"/>
              <a:gd name="connsiteX3" fmla="*/ 0 w 4307057"/>
              <a:gd name="connsiteY3" fmla="*/ 438150 h 438410"/>
              <a:gd name="connsiteX4" fmla="*/ 135995 w 4307057"/>
              <a:gd name="connsiteY4" fmla="*/ 0 h 438410"/>
              <a:gd name="connsiteX0" fmla="*/ 135995 w 4300104"/>
              <a:gd name="connsiteY0" fmla="*/ 0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135995 w 4300104"/>
              <a:gd name="connsiteY4" fmla="*/ 0 h 438410"/>
              <a:gd name="connsiteX0" fmla="*/ 88861 w 4300104"/>
              <a:gd name="connsiteY0" fmla="*/ 9427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88861 w 4300104"/>
              <a:gd name="connsiteY4" fmla="*/ 9427 h 438410"/>
              <a:gd name="connsiteX0" fmla="*/ 88861 w 4300104"/>
              <a:gd name="connsiteY0" fmla="*/ 9427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88861 w 4300104"/>
              <a:gd name="connsiteY4" fmla="*/ 9427 h 438410"/>
              <a:gd name="connsiteX0" fmla="*/ 98288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98288 w 4309531"/>
              <a:gd name="connsiteY4" fmla="*/ 9427 h 438410"/>
              <a:gd name="connsiteX0" fmla="*/ 98288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98288 w 4309531"/>
              <a:gd name="connsiteY4" fmla="*/ 9427 h 438410"/>
              <a:gd name="connsiteX0" fmla="*/ 79434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9427 h 438410"/>
              <a:gd name="connsiteX0" fmla="*/ 79434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9427 h 438410"/>
              <a:gd name="connsiteX0" fmla="*/ 79434 w 4309531"/>
              <a:gd name="connsiteY0" fmla="*/ 4832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4832 h 438410"/>
              <a:gd name="connsiteX0" fmla="*/ 88624 w 4309531"/>
              <a:gd name="connsiteY0" fmla="*/ 4832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88624 w 4309531"/>
              <a:gd name="connsiteY4" fmla="*/ 4832 h 438410"/>
              <a:gd name="connsiteX0" fmla="*/ 74839 w 4309531"/>
              <a:gd name="connsiteY0" fmla="*/ 23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4839 w 4309531"/>
              <a:gd name="connsiteY4" fmla="*/ 237 h 438410"/>
              <a:gd name="connsiteX0" fmla="*/ 103120 w 4337812"/>
              <a:gd name="connsiteY0" fmla="*/ 237 h 438410"/>
              <a:gd name="connsiteX1" fmla="*/ 4335712 w 4337812"/>
              <a:gd name="connsiteY1" fmla="*/ 0 h 438410"/>
              <a:gd name="connsiteX2" fmla="*/ 4337812 w 4337812"/>
              <a:gd name="connsiteY2" fmla="*/ 438410 h 438410"/>
              <a:gd name="connsiteX3" fmla="*/ 0 w 4337812"/>
              <a:gd name="connsiteY3" fmla="*/ 428723 h 438410"/>
              <a:gd name="connsiteX4" fmla="*/ 103120 w 4337812"/>
              <a:gd name="connsiteY4" fmla="*/ 237 h 438410"/>
              <a:gd name="connsiteX0" fmla="*/ 103120 w 4337812"/>
              <a:gd name="connsiteY0" fmla="*/ 237 h 447577"/>
              <a:gd name="connsiteX1" fmla="*/ 4335712 w 4337812"/>
              <a:gd name="connsiteY1" fmla="*/ 0 h 447577"/>
              <a:gd name="connsiteX2" fmla="*/ 4337812 w 4337812"/>
              <a:gd name="connsiteY2" fmla="*/ 438410 h 447577"/>
              <a:gd name="connsiteX3" fmla="*/ 0 w 4337812"/>
              <a:gd name="connsiteY3" fmla="*/ 447577 h 447577"/>
              <a:gd name="connsiteX4" fmla="*/ 103120 w 4337812"/>
              <a:gd name="connsiteY4" fmla="*/ 237 h 447577"/>
              <a:gd name="connsiteX0" fmla="*/ 103120 w 4337812"/>
              <a:gd name="connsiteY0" fmla="*/ 237 h 447577"/>
              <a:gd name="connsiteX1" fmla="*/ 4335712 w 4337812"/>
              <a:gd name="connsiteY1" fmla="*/ 0 h 447577"/>
              <a:gd name="connsiteX2" fmla="*/ 4337812 w 4337812"/>
              <a:gd name="connsiteY2" fmla="*/ 438410 h 447577"/>
              <a:gd name="connsiteX3" fmla="*/ 0 w 4337812"/>
              <a:gd name="connsiteY3" fmla="*/ 447577 h 447577"/>
              <a:gd name="connsiteX4" fmla="*/ 103120 w 4337812"/>
              <a:gd name="connsiteY4" fmla="*/ 237 h 447577"/>
              <a:gd name="connsiteX0" fmla="*/ 103120 w 4337812"/>
              <a:gd name="connsiteY0" fmla="*/ 237 h 438410"/>
              <a:gd name="connsiteX1" fmla="*/ 4335712 w 4337812"/>
              <a:gd name="connsiteY1" fmla="*/ 0 h 438410"/>
              <a:gd name="connsiteX2" fmla="*/ 4337812 w 4337812"/>
              <a:gd name="connsiteY2" fmla="*/ 438410 h 438410"/>
              <a:gd name="connsiteX3" fmla="*/ 0 w 4337812"/>
              <a:gd name="connsiteY3" fmla="*/ 438150 h 438410"/>
              <a:gd name="connsiteX4" fmla="*/ 103120 w 4337812"/>
              <a:gd name="connsiteY4" fmla="*/ 237 h 438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37812" h="438410">
                <a:moveTo>
                  <a:pt x="103120" y="237"/>
                </a:moveTo>
                <a:lnTo>
                  <a:pt x="4335712" y="0"/>
                </a:lnTo>
                <a:cubicBezTo>
                  <a:pt x="4335712" y="146050"/>
                  <a:pt x="4337812" y="292360"/>
                  <a:pt x="4337812" y="438410"/>
                </a:cubicBezTo>
                <a:lnTo>
                  <a:pt x="0" y="438150"/>
                </a:lnTo>
                <a:lnTo>
                  <a:pt x="103120" y="237"/>
                </a:lnTo>
                <a:close/>
              </a:path>
            </a:pathLst>
          </a:custGeom>
          <a:solidFill>
            <a:srgbClr val="3D49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b="1" dirty="0">
              <a:latin typeface="PT Sans Narrow" panose="020B0604020202020204" charset="-52"/>
            </a:endParaRPr>
          </a:p>
        </p:txBody>
      </p:sp>
      <p:sp>
        <p:nvSpPr>
          <p:cNvPr id="18" name="Заголовок 17"/>
          <p:cNvSpPr>
            <a:spLocks noGrp="1"/>
          </p:cNvSpPr>
          <p:nvPr userDrawn="1">
            <p:ph type="title" hasCustomPrompt="1"/>
          </p:nvPr>
        </p:nvSpPr>
        <p:spPr>
          <a:xfrm>
            <a:off x="6718423" y="330123"/>
            <a:ext cx="4337812" cy="439623"/>
          </a:xfrm>
          <a:prstGeom prst="rect">
            <a:avLst/>
          </a:prstGeom>
        </p:spPr>
        <p:txBody>
          <a:bodyPr anchor="ctr" anchorCtr="0"/>
          <a:lstStyle>
            <a:lvl1pPr>
              <a:defRPr sz="1600" b="1">
                <a:solidFill>
                  <a:schemeClr val="bg1"/>
                </a:solidFill>
                <a:latin typeface="PT Sans Narrow" panose="020B0604020202020204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7905500" y="7526079"/>
            <a:ext cx="302198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+7</a:t>
            </a:r>
            <a:r>
              <a:rPr lang="ru-RU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 </a:t>
            </a:r>
            <a:r>
              <a:rPr lang="en-US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(495) 741</a:t>
            </a:r>
            <a:r>
              <a:rPr lang="en-US" sz="150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 87 74</a:t>
            </a:r>
            <a:r>
              <a:rPr lang="ru-RU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 </a:t>
            </a:r>
            <a:r>
              <a:rPr lang="en-US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| www.freightvillage.ru</a:t>
            </a:r>
            <a:endParaRPr lang="ru-RU" sz="1500" dirty="0">
              <a:solidFill>
                <a:schemeClr val="tx1">
                  <a:lumMod val="75000"/>
                  <a:lumOff val="25000"/>
                </a:schemeClr>
              </a:solidFill>
              <a:latin typeface="PT Sans Narrow" panose="020B0506020203020204" pitchFamily="34" charset="-52"/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416" y="7476185"/>
            <a:ext cx="1873081" cy="364837"/>
          </a:xfrm>
          <a:prstGeom prst="rect">
            <a:avLst/>
          </a:prstGeom>
        </p:spPr>
      </p:pic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276262" y="12374"/>
            <a:ext cx="2579211" cy="317749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PT Sans Narrow" panose="020B0506020203020204" pitchFamily="34" charset="-52"/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олилиния 17"/>
          <p:cNvSpPr/>
          <p:nvPr userDrawn="1"/>
        </p:nvSpPr>
        <p:spPr>
          <a:xfrm>
            <a:off x="6718423" y="331336"/>
            <a:ext cx="4337812" cy="438410"/>
          </a:xfrm>
          <a:custGeom>
            <a:avLst/>
            <a:gdLst>
              <a:gd name="connsiteX0" fmla="*/ 76200 w 3352800"/>
              <a:gd name="connsiteY0" fmla="*/ 0 h 438150"/>
              <a:gd name="connsiteX1" fmla="*/ 3352800 w 3352800"/>
              <a:gd name="connsiteY1" fmla="*/ 9525 h 438150"/>
              <a:gd name="connsiteX2" fmla="*/ 3352800 w 3352800"/>
              <a:gd name="connsiteY2" fmla="*/ 438150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52800"/>
              <a:gd name="connsiteY0" fmla="*/ 0 h 438150"/>
              <a:gd name="connsiteX1" fmla="*/ 3343275 w 3352800"/>
              <a:gd name="connsiteY1" fmla="*/ 0 h 438150"/>
              <a:gd name="connsiteX2" fmla="*/ 3352800 w 3352800"/>
              <a:gd name="connsiteY2" fmla="*/ 438150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43275"/>
              <a:gd name="connsiteY0" fmla="*/ 0 h 438150"/>
              <a:gd name="connsiteX1" fmla="*/ 3343275 w 3343275"/>
              <a:gd name="connsiteY1" fmla="*/ 0 h 438150"/>
              <a:gd name="connsiteX2" fmla="*/ 3333750 w 3343275"/>
              <a:gd name="connsiteY2" fmla="*/ 438150 h 438150"/>
              <a:gd name="connsiteX3" fmla="*/ 0 w 3343275"/>
              <a:gd name="connsiteY3" fmla="*/ 438150 h 438150"/>
              <a:gd name="connsiteX4" fmla="*/ 76200 w 3343275"/>
              <a:gd name="connsiteY4" fmla="*/ 0 h 438150"/>
              <a:gd name="connsiteX0" fmla="*/ 76200 w 3352800"/>
              <a:gd name="connsiteY0" fmla="*/ 0 h 438150"/>
              <a:gd name="connsiteX1" fmla="*/ 3343275 w 3352800"/>
              <a:gd name="connsiteY1" fmla="*/ 0 h 438150"/>
              <a:gd name="connsiteX2" fmla="*/ 3352800 w 3352800"/>
              <a:gd name="connsiteY2" fmla="*/ 428625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43275"/>
              <a:gd name="connsiteY0" fmla="*/ 0 h 447675"/>
              <a:gd name="connsiteX1" fmla="*/ 3343275 w 3343275"/>
              <a:gd name="connsiteY1" fmla="*/ 0 h 447675"/>
              <a:gd name="connsiteX2" fmla="*/ 3333750 w 3343275"/>
              <a:gd name="connsiteY2" fmla="*/ 447675 h 447675"/>
              <a:gd name="connsiteX3" fmla="*/ 0 w 3343275"/>
              <a:gd name="connsiteY3" fmla="*/ 438150 h 447675"/>
              <a:gd name="connsiteX4" fmla="*/ 76200 w 3343275"/>
              <a:gd name="connsiteY4" fmla="*/ 0 h 447675"/>
              <a:gd name="connsiteX0" fmla="*/ 76200 w 3343275"/>
              <a:gd name="connsiteY0" fmla="*/ 0 h 438150"/>
              <a:gd name="connsiteX1" fmla="*/ 3343275 w 3343275"/>
              <a:gd name="connsiteY1" fmla="*/ 0 h 438150"/>
              <a:gd name="connsiteX2" fmla="*/ 3343275 w 3343275"/>
              <a:gd name="connsiteY2" fmla="*/ 438150 h 438150"/>
              <a:gd name="connsiteX3" fmla="*/ 0 w 3343275"/>
              <a:gd name="connsiteY3" fmla="*/ 438150 h 438150"/>
              <a:gd name="connsiteX4" fmla="*/ 76200 w 3343275"/>
              <a:gd name="connsiteY4" fmla="*/ 0 h 438150"/>
              <a:gd name="connsiteX0" fmla="*/ 144439 w 3411514"/>
              <a:gd name="connsiteY0" fmla="*/ 0 h 438150"/>
              <a:gd name="connsiteX1" fmla="*/ 3411514 w 3411514"/>
              <a:gd name="connsiteY1" fmla="*/ 0 h 438150"/>
              <a:gd name="connsiteX2" fmla="*/ 3411514 w 3411514"/>
              <a:gd name="connsiteY2" fmla="*/ 438150 h 438150"/>
              <a:gd name="connsiteX3" fmla="*/ 0 w 3411514"/>
              <a:gd name="connsiteY3" fmla="*/ 438150 h 438150"/>
              <a:gd name="connsiteX4" fmla="*/ 144439 w 3411514"/>
              <a:gd name="connsiteY4" fmla="*/ 0 h 438150"/>
              <a:gd name="connsiteX0" fmla="*/ 117143 w 3384218"/>
              <a:gd name="connsiteY0" fmla="*/ 0 h 438150"/>
              <a:gd name="connsiteX1" fmla="*/ 3384218 w 3384218"/>
              <a:gd name="connsiteY1" fmla="*/ 0 h 438150"/>
              <a:gd name="connsiteX2" fmla="*/ 3384218 w 3384218"/>
              <a:gd name="connsiteY2" fmla="*/ 438150 h 438150"/>
              <a:gd name="connsiteX3" fmla="*/ 0 w 3384218"/>
              <a:gd name="connsiteY3" fmla="*/ 438150 h 438150"/>
              <a:gd name="connsiteX4" fmla="*/ 117143 w 3384218"/>
              <a:gd name="connsiteY4" fmla="*/ 0 h 438150"/>
              <a:gd name="connsiteX0" fmla="*/ 117143 w 4325913"/>
              <a:gd name="connsiteY0" fmla="*/ 0 h 438150"/>
              <a:gd name="connsiteX1" fmla="*/ 4325913 w 4325913"/>
              <a:gd name="connsiteY1" fmla="*/ 0 h 438150"/>
              <a:gd name="connsiteX2" fmla="*/ 3384218 w 4325913"/>
              <a:gd name="connsiteY2" fmla="*/ 438150 h 438150"/>
              <a:gd name="connsiteX3" fmla="*/ 0 w 4325913"/>
              <a:gd name="connsiteY3" fmla="*/ 438150 h 438150"/>
              <a:gd name="connsiteX4" fmla="*/ 117143 w 4325913"/>
              <a:gd name="connsiteY4" fmla="*/ 0 h 438150"/>
              <a:gd name="connsiteX0" fmla="*/ 117143 w 4325913"/>
              <a:gd name="connsiteY0" fmla="*/ 0 h 451798"/>
              <a:gd name="connsiteX1" fmla="*/ 4325913 w 4325913"/>
              <a:gd name="connsiteY1" fmla="*/ 0 h 451798"/>
              <a:gd name="connsiteX2" fmla="*/ 4312266 w 4325913"/>
              <a:gd name="connsiteY2" fmla="*/ 451798 h 451798"/>
              <a:gd name="connsiteX3" fmla="*/ 0 w 4325913"/>
              <a:gd name="connsiteY3" fmla="*/ 438150 h 451798"/>
              <a:gd name="connsiteX4" fmla="*/ 117143 w 4325913"/>
              <a:gd name="connsiteY4" fmla="*/ 0 h 451798"/>
              <a:gd name="connsiteX0" fmla="*/ 117143 w 4325914"/>
              <a:gd name="connsiteY0" fmla="*/ 0 h 438150"/>
              <a:gd name="connsiteX1" fmla="*/ 4325913 w 4325914"/>
              <a:gd name="connsiteY1" fmla="*/ 0 h 438150"/>
              <a:gd name="connsiteX2" fmla="*/ 4325914 w 4325914"/>
              <a:gd name="connsiteY2" fmla="*/ 438150 h 438150"/>
              <a:gd name="connsiteX3" fmla="*/ 0 w 4325914"/>
              <a:gd name="connsiteY3" fmla="*/ 438150 h 438150"/>
              <a:gd name="connsiteX4" fmla="*/ 117143 w 4325914"/>
              <a:gd name="connsiteY4" fmla="*/ 0 h 438150"/>
              <a:gd name="connsiteX0" fmla="*/ 117143 w 4339562"/>
              <a:gd name="connsiteY0" fmla="*/ 0 h 451797"/>
              <a:gd name="connsiteX1" fmla="*/ 4325913 w 4339562"/>
              <a:gd name="connsiteY1" fmla="*/ 0 h 451797"/>
              <a:gd name="connsiteX2" fmla="*/ 4339562 w 4339562"/>
              <a:gd name="connsiteY2" fmla="*/ 451797 h 451797"/>
              <a:gd name="connsiteX3" fmla="*/ 0 w 4339562"/>
              <a:gd name="connsiteY3" fmla="*/ 438150 h 451797"/>
              <a:gd name="connsiteX4" fmla="*/ 117143 w 4339562"/>
              <a:gd name="connsiteY4" fmla="*/ 0 h 451797"/>
              <a:gd name="connsiteX0" fmla="*/ 117143 w 4325913"/>
              <a:gd name="connsiteY0" fmla="*/ 0 h 451797"/>
              <a:gd name="connsiteX1" fmla="*/ 4325913 w 4325913"/>
              <a:gd name="connsiteY1" fmla="*/ 0 h 451797"/>
              <a:gd name="connsiteX2" fmla="*/ 4312266 w 4325913"/>
              <a:gd name="connsiteY2" fmla="*/ 451797 h 451797"/>
              <a:gd name="connsiteX3" fmla="*/ 0 w 4325913"/>
              <a:gd name="connsiteY3" fmla="*/ 438150 h 451797"/>
              <a:gd name="connsiteX4" fmla="*/ 117143 w 4325913"/>
              <a:gd name="connsiteY4" fmla="*/ 0 h 451797"/>
              <a:gd name="connsiteX0" fmla="*/ 117143 w 4325914"/>
              <a:gd name="connsiteY0" fmla="*/ 0 h 438150"/>
              <a:gd name="connsiteX1" fmla="*/ 4325913 w 4325914"/>
              <a:gd name="connsiteY1" fmla="*/ 0 h 438150"/>
              <a:gd name="connsiteX2" fmla="*/ 4325914 w 4325914"/>
              <a:gd name="connsiteY2" fmla="*/ 424502 h 438150"/>
              <a:gd name="connsiteX3" fmla="*/ 0 w 4325914"/>
              <a:gd name="connsiteY3" fmla="*/ 438150 h 438150"/>
              <a:gd name="connsiteX4" fmla="*/ 117143 w 4325914"/>
              <a:gd name="connsiteY4" fmla="*/ 0 h 438150"/>
              <a:gd name="connsiteX0" fmla="*/ 117143 w 4325913"/>
              <a:gd name="connsiteY0" fmla="*/ 0 h 438409"/>
              <a:gd name="connsiteX1" fmla="*/ 4325913 w 4325913"/>
              <a:gd name="connsiteY1" fmla="*/ 0 h 438409"/>
              <a:gd name="connsiteX2" fmla="*/ 4318960 w 4325913"/>
              <a:gd name="connsiteY2" fmla="*/ 438409 h 438409"/>
              <a:gd name="connsiteX3" fmla="*/ 0 w 4325913"/>
              <a:gd name="connsiteY3" fmla="*/ 438150 h 438409"/>
              <a:gd name="connsiteX4" fmla="*/ 117143 w 4325913"/>
              <a:gd name="connsiteY4" fmla="*/ 0 h 438409"/>
              <a:gd name="connsiteX0" fmla="*/ 154850 w 4325913"/>
              <a:gd name="connsiteY0" fmla="*/ 9427 h 438409"/>
              <a:gd name="connsiteX1" fmla="*/ 4325913 w 4325913"/>
              <a:gd name="connsiteY1" fmla="*/ 0 h 438409"/>
              <a:gd name="connsiteX2" fmla="*/ 4318960 w 4325913"/>
              <a:gd name="connsiteY2" fmla="*/ 438409 h 438409"/>
              <a:gd name="connsiteX3" fmla="*/ 0 w 4325913"/>
              <a:gd name="connsiteY3" fmla="*/ 438150 h 438409"/>
              <a:gd name="connsiteX4" fmla="*/ 154850 w 4325913"/>
              <a:gd name="connsiteY4" fmla="*/ 9427 h 438409"/>
              <a:gd name="connsiteX0" fmla="*/ 117143 w 4288206"/>
              <a:gd name="connsiteY0" fmla="*/ 9427 h 438409"/>
              <a:gd name="connsiteX1" fmla="*/ 4288206 w 4288206"/>
              <a:gd name="connsiteY1" fmla="*/ 0 h 438409"/>
              <a:gd name="connsiteX2" fmla="*/ 4281253 w 4288206"/>
              <a:gd name="connsiteY2" fmla="*/ 438409 h 438409"/>
              <a:gd name="connsiteX3" fmla="*/ 0 w 4288206"/>
              <a:gd name="connsiteY3" fmla="*/ 428723 h 438409"/>
              <a:gd name="connsiteX4" fmla="*/ 117143 w 4288206"/>
              <a:gd name="connsiteY4" fmla="*/ 9427 h 438409"/>
              <a:gd name="connsiteX0" fmla="*/ 126570 w 4288206"/>
              <a:gd name="connsiteY0" fmla="*/ 0 h 438409"/>
              <a:gd name="connsiteX1" fmla="*/ 4288206 w 4288206"/>
              <a:gd name="connsiteY1" fmla="*/ 0 h 438409"/>
              <a:gd name="connsiteX2" fmla="*/ 4281253 w 4288206"/>
              <a:gd name="connsiteY2" fmla="*/ 438409 h 438409"/>
              <a:gd name="connsiteX3" fmla="*/ 0 w 4288206"/>
              <a:gd name="connsiteY3" fmla="*/ 428723 h 438409"/>
              <a:gd name="connsiteX4" fmla="*/ 126570 w 4288206"/>
              <a:gd name="connsiteY4" fmla="*/ 0 h 438409"/>
              <a:gd name="connsiteX0" fmla="*/ 107716 w 4269352"/>
              <a:gd name="connsiteY0" fmla="*/ 0 h 438409"/>
              <a:gd name="connsiteX1" fmla="*/ 4269352 w 4269352"/>
              <a:gd name="connsiteY1" fmla="*/ 0 h 438409"/>
              <a:gd name="connsiteX2" fmla="*/ 4262399 w 4269352"/>
              <a:gd name="connsiteY2" fmla="*/ 438409 h 438409"/>
              <a:gd name="connsiteX3" fmla="*/ 0 w 4269352"/>
              <a:gd name="connsiteY3" fmla="*/ 428723 h 438409"/>
              <a:gd name="connsiteX4" fmla="*/ 107716 w 4269352"/>
              <a:gd name="connsiteY4" fmla="*/ 0 h 438409"/>
              <a:gd name="connsiteX0" fmla="*/ 126569 w 4288205"/>
              <a:gd name="connsiteY0" fmla="*/ 0 h 438409"/>
              <a:gd name="connsiteX1" fmla="*/ 4288205 w 4288205"/>
              <a:gd name="connsiteY1" fmla="*/ 0 h 438409"/>
              <a:gd name="connsiteX2" fmla="*/ 4281252 w 4288205"/>
              <a:gd name="connsiteY2" fmla="*/ 438409 h 438409"/>
              <a:gd name="connsiteX3" fmla="*/ 0 w 4288205"/>
              <a:gd name="connsiteY3" fmla="*/ 428723 h 438409"/>
              <a:gd name="connsiteX4" fmla="*/ 126569 w 4288205"/>
              <a:gd name="connsiteY4" fmla="*/ 0 h 438409"/>
              <a:gd name="connsiteX0" fmla="*/ 126569 w 4288205"/>
              <a:gd name="connsiteY0" fmla="*/ 0 h 438409"/>
              <a:gd name="connsiteX1" fmla="*/ 4288205 w 4288205"/>
              <a:gd name="connsiteY1" fmla="*/ 0 h 438409"/>
              <a:gd name="connsiteX2" fmla="*/ 4281252 w 4288205"/>
              <a:gd name="connsiteY2" fmla="*/ 438409 h 438409"/>
              <a:gd name="connsiteX3" fmla="*/ 0 w 4288205"/>
              <a:gd name="connsiteY3" fmla="*/ 428723 h 438409"/>
              <a:gd name="connsiteX4" fmla="*/ 126569 w 4288205"/>
              <a:gd name="connsiteY4" fmla="*/ 0 h 438409"/>
              <a:gd name="connsiteX0" fmla="*/ 135995 w 4297631"/>
              <a:gd name="connsiteY0" fmla="*/ 0 h 438409"/>
              <a:gd name="connsiteX1" fmla="*/ 4297631 w 4297631"/>
              <a:gd name="connsiteY1" fmla="*/ 0 h 438409"/>
              <a:gd name="connsiteX2" fmla="*/ 4290678 w 4297631"/>
              <a:gd name="connsiteY2" fmla="*/ 438409 h 438409"/>
              <a:gd name="connsiteX3" fmla="*/ 0 w 4297631"/>
              <a:gd name="connsiteY3" fmla="*/ 438150 h 438409"/>
              <a:gd name="connsiteX4" fmla="*/ 135995 w 4297631"/>
              <a:gd name="connsiteY4" fmla="*/ 0 h 438409"/>
              <a:gd name="connsiteX0" fmla="*/ 135995 w 4309531"/>
              <a:gd name="connsiteY0" fmla="*/ 0 h 438150"/>
              <a:gd name="connsiteX1" fmla="*/ 4297631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16484"/>
              <a:gd name="connsiteY0" fmla="*/ 0 h 438150"/>
              <a:gd name="connsiteX1" fmla="*/ 4316484 w 4316484"/>
              <a:gd name="connsiteY1" fmla="*/ 0 h 438150"/>
              <a:gd name="connsiteX2" fmla="*/ 4309531 w 4316484"/>
              <a:gd name="connsiteY2" fmla="*/ 428983 h 438150"/>
              <a:gd name="connsiteX3" fmla="*/ 0 w 4316484"/>
              <a:gd name="connsiteY3" fmla="*/ 438150 h 438150"/>
              <a:gd name="connsiteX4" fmla="*/ 135995 w 4316484"/>
              <a:gd name="connsiteY4" fmla="*/ 0 h 438150"/>
              <a:gd name="connsiteX0" fmla="*/ 135995 w 4309531"/>
              <a:gd name="connsiteY0" fmla="*/ 0 h 438150"/>
              <a:gd name="connsiteX1" fmla="*/ 4307057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09531"/>
              <a:gd name="connsiteY0" fmla="*/ 0 h 438150"/>
              <a:gd name="connsiteX1" fmla="*/ 4307057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07057"/>
              <a:gd name="connsiteY0" fmla="*/ 0 h 438410"/>
              <a:gd name="connsiteX1" fmla="*/ 4307057 w 4307057"/>
              <a:gd name="connsiteY1" fmla="*/ 0 h 438410"/>
              <a:gd name="connsiteX2" fmla="*/ 4300104 w 4307057"/>
              <a:gd name="connsiteY2" fmla="*/ 438410 h 438410"/>
              <a:gd name="connsiteX3" fmla="*/ 0 w 4307057"/>
              <a:gd name="connsiteY3" fmla="*/ 438150 h 438410"/>
              <a:gd name="connsiteX4" fmla="*/ 135995 w 4307057"/>
              <a:gd name="connsiteY4" fmla="*/ 0 h 438410"/>
              <a:gd name="connsiteX0" fmla="*/ 135995 w 4300104"/>
              <a:gd name="connsiteY0" fmla="*/ 0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135995 w 4300104"/>
              <a:gd name="connsiteY4" fmla="*/ 0 h 438410"/>
              <a:gd name="connsiteX0" fmla="*/ 88861 w 4300104"/>
              <a:gd name="connsiteY0" fmla="*/ 9427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88861 w 4300104"/>
              <a:gd name="connsiteY4" fmla="*/ 9427 h 438410"/>
              <a:gd name="connsiteX0" fmla="*/ 88861 w 4300104"/>
              <a:gd name="connsiteY0" fmla="*/ 9427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88861 w 4300104"/>
              <a:gd name="connsiteY4" fmla="*/ 9427 h 438410"/>
              <a:gd name="connsiteX0" fmla="*/ 98288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98288 w 4309531"/>
              <a:gd name="connsiteY4" fmla="*/ 9427 h 438410"/>
              <a:gd name="connsiteX0" fmla="*/ 98288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98288 w 4309531"/>
              <a:gd name="connsiteY4" fmla="*/ 9427 h 438410"/>
              <a:gd name="connsiteX0" fmla="*/ 79434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9427 h 438410"/>
              <a:gd name="connsiteX0" fmla="*/ 79434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9427 h 438410"/>
              <a:gd name="connsiteX0" fmla="*/ 79434 w 4309531"/>
              <a:gd name="connsiteY0" fmla="*/ 4832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4832 h 438410"/>
              <a:gd name="connsiteX0" fmla="*/ 88624 w 4309531"/>
              <a:gd name="connsiteY0" fmla="*/ 4832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88624 w 4309531"/>
              <a:gd name="connsiteY4" fmla="*/ 4832 h 438410"/>
              <a:gd name="connsiteX0" fmla="*/ 74839 w 4309531"/>
              <a:gd name="connsiteY0" fmla="*/ 23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4839 w 4309531"/>
              <a:gd name="connsiteY4" fmla="*/ 237 h 438410"/>
              <a:gd name="connsiteX0" fmla="*/ 103120 w 4337812"/>
              <a:gd name="connsiteY0" fmla="*/ 237 h 438410"/>
              <a:gd name="connsiteX1" fmla="*/ 4335712 w 4337812"/>
              <a:gd name="connsiteY1" fmla="*/ 0 h 438410"/>
              <a:gd name="connsiteX2" fmla="*/ 4337812 w 4337812"/>
              <a:gd name="connsiteY2" fmla="*/ 438410 h 438410"/>
              <a:gd name="connsiteX3" fmla="*/ 0 w 4337812"/>
              <a:gd name="connsiteY3" fmla="*/ 428723 h 438410"/>
              <a:gd name="connsiteX4" fmla="*/ 103120 w 4337812"/>
              <a:gd name="connsiteY4" fmla="*/ 237 h 438410"/>
              <a:gd name="connsiteX0" fmla="*/ 103120 w 4337812"/>
              <a:gd name="connsiteY0" fmla="*/ 237 h 447577"/>
              <a:gd name="connsiteX1" fmla="*/ 4335712 w 4337812"/>
              <a:gd name="connsiteY1" fmla="*/ 0 h 447577"/>
              <a:gd name="connsiteX2" fmla="*/ 4337812 w 4337812"/>
              <a:gd name="connsiteY2" fmla="*/ 438410 h 447577"/>
              <a:gd name="connsiteX3" fmla="*/ 0 w 4337812"/>
              <a:gd name="connsiteY3" fmla="*/ 447577 h 447577"/>
              <a:gd name="connsiteX4" fmla="*/ 103120 w 4337812"/>
              <a:gd name="connsiteY4" fmla="*/ 237 h 447577"/>
              <a:gd name="connsiteX0" fmla="*/ 103120 w 4337812"/>
              <a:gd name="connsiteY0" fmla="*/ 237 h 447577"/>
              <a:gd name="connsiteX1" fmla="*/ 4335712 w 4337812"/>
              <a:gd name="connsiteY1" fmla="*/ 0 h 447577"/>
              <a:gd name="connsiteX2" fmla="*/ 4337812 w 4337812"/>
              <a:gd name="connsiteY2" fmla="*/ 438410 h 447577"/>
              <a:gd name="connsiteX3" fmla="*/ 0 w 4337812"/>
              <a:gd name="connsiteY3" fmla="*/ 447577 h 447577"/>
              <a:gd name="connsiteX4" fmla="*/ 103120 w 4337812"/>
              <a:gd name="connsiteY4" fmla="*/ 237 h 447577"/>
              <a:gd name="connsiteX0" fmla="*/ 103120 w 4337812"/>
              <a:gd name="connsiteY0" fmla="*/ 237 h 438410"/>
              <a:gd name="connsiteX1" fmla="*/ 4335712 w 4337812"/>
              <a:gd name="connsiteY1" fmla="*/ 0 h 438410"/>
              <a:gd name="connsiteX2" fmla="*/ 4337812 w 4337812"/>
              <a:gd name="connsiteY2" fmla="*/ 438410 h 438410"/>
              <a:gd name="connsiteX3" fmla="*/ 0 w 4337812"/>
              <a:gd name="connsiteY3" fmla="*/ 438150 h 438410"/>
              <a:gd name="connsiteX4" fmla="*/ 103120 w 4337812"/>
              <a:gd name="connsiteY4" fmla="*/ 237 h 438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37812" h="438410">
                <a:moveTo>
                  <a:pt x="103120" y="237"/>
                </a:moveTo>
                <a:lnTo>
                  <a:pt x="4335712" y="0"/>
                </a:lnTo>
                <a:cubicBezTo>
                  <a:pt x="4335712" y="146050"/>
                  <a:pt x="4337812" y="292360"/>
                  <a:pt x="4337812" y="438410"/>
                </a:cubicBezTo>
                <a:lnTo>
                  <a:pt x="0" y="438150"/>
                </a:lnTo>
                <a:lnTo>
                  <a:pt x="103120" y="237"/>
                </a:lnTo>
                <a:close/>
              </a:path>
            </a:pathLst>
          </a:custGeom>
          <a:solidFill>
            <a:srgbClr val="3D49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b="1" dirty="0">
              <a:latin typeface="PT Sans Narrow" panose="020B0604020202020204" charset="-52"/>
            </a:endParaRPr>
          </a:p>
        </p:txBody>
      </p:sp>
      <p:sp>
        <p:nvSpPr>
          <p:cNvPr id="6" name="Полилиния 5"/>
          <p:cNvSpPr/>
          <p:nvPr userDrawn="1"/>
        </p:nvSpPr>
        <p:spPr>
          <a:xfrm>
            <a:off x="7509505" y="769746"/>
            <a:ext cx="3544258" cy="337327"/>
          </a:xfrm>
          <a:custGeom>
            <a:avLst/>
            <a:gdLst>
              <a:gd name="connsiteX0" fmla="*/ 76200 w 3352800"/>
              <a:gd name="connsiteY0" fmla="*/ 0 h 438150"/>
              <a:gd name="connsiteX1" fmla="*/ 3352800 w 3352800"/>
              <a:gd name="connsiteY1" fmla="*/ 9525 h 438150"/>
              <a:gd name="connsiteX2" fmla="*/ 3352800 w 3352800"/>
              <a:gd name="connsiteY2" fmla="*/ 438150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52800"/>
              <a:gd name="connsiteY0" fmla="*/ 0 h 438150"/>
              <a:gd name="connsiteX1" fmla="*/ 3343275 w 3352800"/>
              <a:gd name="connsiteY1" fmla="*/ 0 h 438150"/>
              <a:gd name="connsiteX2" fmla="*/ 3352800 w 3352800"/>
              <a:gd name="connsiteY2" fmla="*/ 438150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43275"/>
              <a:gd name="connsiteY0" fmla="*/ 0 h 438150"/>
              <a:gd name="connsiteX1" fmla="*/ 3343275 w 3343275"/>
              <a:gd name="connsiteY1" fmla="*/ 0 h 438150"/>
              <a:gd name="connsiteX2" fmla="*/ 3333750 w 3343275"/>
              <a:gd name="connsiteY2" fmla="*/ 438150 h 438150"/>
              <a:gd name="connsiteX3" fmla="*/ 0 w 3343275"/>
              <a:gd name="connsiteY3" fmla="*/ 438150 h 438150"/>
              <a:gd name="connsiteX4" fmla="*/ 76200 w 3343275"/>
              <a:gd name="connsiteY4" fmla="*/ 0 h 438150"/>
              <a:gd name="connsiteX0" fmla="*/ 76200 w 3352800"/>
              <a:gd name="connsiteY0" fmla="*/ 0 h 438150"/>
              <a:gd name="connsiteX1" fmla="*/ 3343275 w 3352800"/>
              <a:gd name="connsiteY1" fmla="*/ 0 h 438150"/>
              <a:gd name="connsiteX2" fmla="*/ 3352800 w 3352800"/>
              <a:gd name="connsiteY2" fmla="*/ 428625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43275"/>
              <a:gd name="connsiteY0" fmla="*/ 0 h 447675"/>
              <a:gd name="connsiteX1" fmla="*/ 3343275 w 3343275"/>
              <a:gd name="connsiteY1" fmla="*/ 0 h 447675"/>
              <a:gd name="connsiteX2" fmla="*/ 3333750 w 3343275"/>
              <a:gd name="connsiteY2" fmla="*/ 447675 h 447675"/>
              <a:gd name="connsiteX3" fmla="*/ 0 w 3343275"/>
              <a:gd name="connsiteY3" fmla="*/ 438150 h 447675"/>
              <a:gd name="connsiteX4" fmla="*/ 76200 w 3343275"/>
              <a:gd name="connsiteY4" fmla="*/ 0 h 447675"/>
              <a:gd name="connsiteX0" fmla="*/ 76200 w 3343275"/>
              <a:gd name="connsiteY0" fmla="*/ 0 h 438150"/>
              <a:gd name="connsiteX1" fmla="*/ 3343275 w 3343275"/>
              <a:gd name="connsiteY1" fmla="*/ 0 h 438150"/>
              <a:gd name="connsiteX2" fmla="*/ 3343275 w 3343275"/>
              <a:gd name="connsiteY2" fmla="*/ 438150 h 438150"/>
              <a:gd name="connsiteX3" fmla="*/ 0 w 3343275"/>
              <a:gd name="connsiteY3" fmla="*/ 438150 h 438150"/>
              <a:gd name="connsiteX4" fmla="*/ 76200 w 3343275"/>
              <a:gd name="connsiteY4" fmla="*/ 0 h 438150"/>
              <a:gd name="connsiteX0" fmla="*/ 144439 w 3411514"/>
              <a:gd name="connsiteY0" fmla="*/ 0 h 438150"/>
              <a:gd name="connsiteX1" fmla="*/ 3411514 w 3411514"/>
              <a:gd name="connsiteY1" fmla="*/ 0 h 438150"/>
              <a:gd name="connsiteX2" fmla="*/ 3411514 w 3411514"/>
              <a:gd name="connsiteY2" fmla="*/ 438150 h 438150"/>
              <a:gd name="connsiteX3" fmla="*/ 0 w 3411514"/>
              <a:gd name="connsiteY3" fmla="*/ 438150 h 438150"/>
              <a:gd name="connsiteX4" fmla="*/ 144439 w 3411514"/>
              <a:gd name="connsiteY4" fmla="*/ 0 h 438150"/>
              <a:gd name="connsiteX0" fmla="*/ 117143 w 3384218"/>
              <a:gd name="connsiteY0" fmla="*/ 0 h 438150"/>
              <a:gd name="connsiteX1" fmla="*/ 3384218 w 3384218"/>
              <a:gd name="connsiteY1" fmla="*/ 0 h 438150"/>
              <a:gd name="connsiteX2" fmla="*/ 3384218 w 3384218"/>
              <a:gd name="connsiteY2" fmla="*/ 438150 h 438150"/>
              <a:gd name="connsiteX3" fmla="*/ 0 w 3384218"/>
              <a:gd name="connsiteY3" fmla="*/ 438150 h 438150"/>
              <a:gd name="connsiteX4" fmla="*/ 117143 w 3384218"/>
              <a:gd name="connsiteY4" fmla="*/ 0 h 438150"/>
              <a:gd name="connsiteX0" fmla="*/ 117143 w 4325913"/>
              <a:gd name="connsiteY0" fmla="*/ 0 h 438150"/>
              <a:gd name="connsiteX1" fmla="*/ 4325913 w 4325913"/>
              <a:gd name="connsiteY1" fmla="*/ 0 h 438150"/>
              <a:gd name="connsiteX2" fmla="*/ 3384218 w 4325913"/>
              <a:gd name="connsiteY2" fmla="*/ 438150 h 438150"/>
              <a:gd name="connsiteX3" fmla="*/ 0 w 4325913"/>
              <a:gd name="connsiteY3" fmla="*/ 438150 h 438150"/>
              <a:gd name="connsiteX4" fmla="*/ 117143 w 4325913"/>
              <a:gd name="connsiteY4" fmla="*/ 0 h 438150"/>
              <a:gd name="connsiteX0" fmla="*/ 117143 w 4325913"/>
              <a:gd name="connsiteY0" fmla="*/ 0 h 451798"/>
              <a:gd name="connsiteX1" fmla="*/ 4325913 w 4325913"/>
              <a:gd name="connsiteY1" fmla="*/ 0 h 451798"/>
              <a:gd name="connsiteX2" fmla="*/ 4312266 w 4325913"/>
              <a:gd name="connsiteY2" fmla="*/ 451798 h 451798"/>
              <a:gd name="connsiteX3" fmla="*/ 0 w 4325913"/>
              <a:gd name="connsiteY3" fmla="*/ 438150 h 451798"/>
              <a:gd name="connsiteX4" fmla="*/ 117143 w 4325913"/>
              <a:gd name="connsiteY4" fmla="*/ 0 h 451798"/>
              <a:gd name="connsiteX0" fmla="*/ 117143 w 4325914"/>
              <a:gd name="connsiteY0" fmla="*/ 0 h 438150"/>
              <a:gd name="connsiteX1" fmla="*/ 4325913 w 4325914"/>
              <a:gd name="connsiteY1" fmla="*/ 0 h 438150"/>
              <a:gd name="connsiteX2" fmla="*/ 4325914 w 4325914"/>
              <a:gd name="connsiteY2" fmla="*/ 438150 h 438150"/>
              <a:gd name="connsiteX3" fmla="*/ 0 w 4325914"/>
              <a:gd name="connsiteY3" fmla="*/ 438150 h 438150"/>
              <a:gd name="connsiteX4" fmla="*/ 117143 w 4325914"/>
              <a:gd name="connsiteY4" fmla="*/ 0 h 438150"/>
              <a:gd name="connsiteX0" fmla="*/ 117143 w 4339562"/>
              <a:gd name="connsiteY0" fmla="*/ 0 h 451797"/>
              <a:gd name="connsiteX1" fmla="*/ 4325913 w 4339562"/>
              <a:gd name="connsiteY1" fmla="*/ 0 h 451797"/>
              <a:gd name="connsiteX2" fmla="*/ 4339562 w 4339562"/>
              <a:gd name="connsiteY2" fmla="*/ 451797 h 451797"/>
              <a:gd name="connsiteX3" fmla="*/ 0 w 4339562"/>
              <a:gd name="connsiteY3" fmla="*/ 438150 h 451797"/>
              <a:gd name="connsiteX4" fmla="*/ 117143 w 4339562"/>
              <a:gd name="connsiteY4" fmla="*/ 0 h 451797"/>
              <a:gd name="connsiteX0" fmla="*/ 117143 w 4325913"/>
              <a:gd name="connsiteY0" fmla="*/ 0 h 451797"/>
              <a:gd name="connsiteX1" fmla="*/ 4325913 w 4325913"/>
              <a:gd name="connsiteY1" fmla="*/ 0 h 451797"/>
              <a:gd name="connsiteX2" fmla="*/ 4312266 w 4325913"/>
              <a:gd name="connsiteY2" fmla="*/ 451797 h 451797"/>
              <a:gd name="connsiteX3" fmla="*/ 0 w 4325913"/>
              <a:gd name="connsiteY3" fmla="*/ 438150 h 451797"/>
              <a:gd name="connsiteX4" fmla="*/ 117143 w 4325913"/>
              <a:gd name="connsiteY4" fmla="*/ 0 h 451797"/>
              <a:gd name="connsiteX0" fmla="*/ 117143 w 4325914"/>
              <a:gd name="connsiteY0" fmla="*/ 0 h 438150"/>
              <a:gd name="connsiteX1" fmla="*/ 4325913 w 4325914"/>
              <a:gd name="connsiteY1" fmla="*/ 0 h 438150"/>
              <a:gd name="connsiteX2" fmla="*/ 4325914 w 4325914"/>
              <a:gd name="connsiteY2" fmla="*/ 424502 h 438150"/>
              <a:gd name="connsiteX3" fmla="*/ 0 w 4325914"/>
              <a:gd name="connsiteY3" fmla="*/ 438150 h 438150"/>
              <a:gd name="connsiteX4" fmla="*/ 117143 w 4325914"/>
              <a:gd name="connsiteY4" fmla="*/ 0 h 438150"/>
              <a:gd name="connsiteX0" fmla="*/ 117143 w 4325913"/>
              <a:gd name="connsiteY0" fmla="*/ 0 h 438409"/>
              <a:gd name="connsiteX1" fmla="*/ 4325913 w 4325913"/>
              <a:gd name="connsiteY1" fmla="*/ 0 h 438409"/>
              <a:gd name="connsiteX2" fmla="*/ 4318960 w 4325913"/>
              <a:gd name="connsiteY2" fmla="*/ 438409 h 438409"/>
              <a:gd name="connsiteX3" fmla="*/ 0 w 4325913"/>
              <a:gd name="connsiteY3" fmla="*/ 438150 h 438409"/>
              <a:gd name="connsiteX4" fmla="*/ 117143 w 4325913"/>
              <a:gd name="connsiteY4" fmla="*/ 0 h 438409"/>
              <a:gd name="connsiteX0" fmla="*/ 154850 w 4325913"/>
              <a:gd name="connsiteY0" fmla="*/ 9427 h 438409"/>
              <a:gd name="connsiteX1" fmla="*/ 4325913 w 4325913"/>
              <a:gd name="connsiteY1" fmla="*/ 0 h 438409"/>
              <a:gd name="connsiteX2" fmla="*/ 4318960 w 4325913"/>
              <a:gd name="connsiteY2" fmla="*/ 438409 h 438409"/>
              <a:gd name="connsiteX3" fmla="*/ 0 w 4325913"/>
              <a:gd name="connsiteY3" fmla="*/ 438150 h 438409"/>
              <a:gd name="connsiteX4" fmla="*/ 154850 w 4325913"/>
              <a:gd name="connsiteY4" fmla="*/ 9427 h 438409"/>
              <a:gd name="connsiteX0" fmla="*/ 117143 w 4288206"/>
              <a:gd name="connsiteY0" fmla="*/ 9427 h 438409"/>
              <a:gd name="connsiteX1" fmla="*/ 4288206 w 4288206"/>
              <a:gd name="connsiteY1" fmla="*/ 0 h 438409"/>
              <a:gd name="connsiteX2" fmla="*/ 4281253 w 4288206"/>
              <a:gd name="connsiteY2" fmla="*/ 438409 h 438409"/>
              <a:gd name="connsiteX3" fmla="*/ 0 w 4288206"/>
              <a:gd name="connsiteY3" fmla="*/ 428723 h 438409"/>
              <a:gd name="connsiteX4" fmla="*/ 117143 w 4288206"/>
              <a:gd name="connsiteY4" fmla="*/ 9427 h 438409"/>
              <a:gd name="connsiteX0" fmla="*/ 126570 w 4288206"/>
              <a:gd name="connsiteY0" fmla="*/ 0 h 438409"/>
              <a:gd name="connsiteX1" fmla="*/ 4288206 w 4288206"/>
              <a:gd name="connsiteY1" fmla="*/ 0 h 438409"/>
              <a:gd name="connsiteX2" fmla="*/ 4281253 w 4288206"/>
              <a:gd name="connsiteY2" fmla="*/ 438409 h 438409"/>
              <a:gd name="connsiteX3" fmla="*/ 0 w 4288206"/>
              <a:gd name="connsiteY3" fmla="*/ 428723 h 438409"/>
              <a:gd name="connsiteX4" fmla="*/ 126570 w 4288206"/>
              <a:gd name="connsiteY4" fmla="*/ 0 h 438409"/>
              <a:gd name="connsiteX0" fmla="*/ 107716 w 4269352"/>
              <a:gd name="connsiteY0" fmla="*/ 0 h 438409"/>
              <a:gd name="connsiteX1" fmla="*/ 4269352 w 4269352"/>
              <a:gd name="connsiteY1" fmla="*/ 0 h 438409"/>
              <a:gd name="connsiteX2" fmla="*/ 4262399 w 4269352"/>
              <a:gd name="connsiteY2" fmla="*/ 438409 h 438409"/>
              <a:gd name="connsiteX3" fmla="*/ 0 w 4269352"/>
              <a:gd name="connsiteY3" fmla="*/ 428723 h 438409"/>
              <a:gd name="connsiteX4" fmla="*/ 107716 w 4269352"/>
              <a:gd name="connsiteY4" fmla="*/ 0 h 438409"/>
              <a:gd name="connsiteX0" fmla="*/ 126569 w 4288205"/>
              <a:gd name="connsiteY0" fmla="*/ 0 h 438409"/>
              <a:gd name="connsiteX1" fmla="*/ 4288205 w 4288205"/>
              <a:gd name="connsiteY1" fmla="*/ 0 h 438409"/>
              <a:gd name="connsiteX2" fmla="*/ 4281252 w 4288205"/>
              <a:gd name="connsiteY2" fmla="*/ 438409 h 438409"/>
              <a:gd name="connsiteX3" fmla="*/ 0 w 4288205"/>
              <a:gd name="connsiteY3" fmla="*/ 428723 h 438409"/>
              <a:gd name="connsiteX4" fmla="*/ 126569 w 4288205"/>
              <a:gd name="connsiteY4" fmla="*/ 0 h 438409"/>
              <a:gd name="connsiteX0" fmla="*/ 126569 w 4288205"/>
              <a:gd name="connsiteY0" fmla="*/ 0 h 438409"/>
              <a:gd name="connsiteX1" fmla="*/ 4288205 w 4288205"/>
              <a:gd name="connsiteY1" fmla="*/ 0 h 438409"/>
              <a:gd name="connsiteX2" fmla="*/ 4281252 w 4288205"/>
              <a:gd name="connsiteY2" fmla="*/ 438409 h 438409"/>
              <a:gd name="connsiteX3" fmla="*/ 0 w 4288205"/>
              <a:gd name="connsiteY3" fmla="*/ 428723 h 438409"/>
              <a:gd name="connsiteX4" fmla="*/ 126569 w 4288205"/>
              <a:gd name="connsiteY4" fmla="*/ 0 h 438409"/>
              <a:gd name="connsiteX0" fmla="*/ 135995 w 4297631"/>
              <a:gd name="connsiteY0" fmla="*/ 0 h 438409"/>
              <a:gd name="connsiteX1" fmla="*/ 4297631 w 4297631"/>
              <a:gd name="connsiteY1" fmla="*/ 0 h 438409"/>
              <a:gd name="connsiteX2" fmla="*/ 4290678 w 4297631"/>
              <a:gd name="connsiteY2" fmla="*/ 438409 h 438409"/>
              <a:gd name="connsiteX3" fmla="*/ 0 w 4297631"/>
              <a:gd name="connsiteY3" fmla="*/ 438150 h 438409"/>
              <a:gd name="connsiteX4" fmla="*/ 135995 w 4297631"/>
              <a:gd name="connsiteY4" fmla="*/ 0 h 438409"/>
              <a:gd name="connsiteX0" fmla="*/ 135995 w 4309531"/>
              <a:gd name="connsiteY0" fmla="*/ 0 h 438150"/>
              <a:gd name="connsiteX1" fmla="*/ 4297631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16484"/>
              <a:gd name="connsiteY0" fmla="*/ 0 h 438150"/>
              <a:gd name="connsiteX1" fmla="*/ 4316484 w 4316484"/>
              <a:gd name="connsiteY1" fmla="*/ 0 h 438150"/>
              <a:gd name="connsiteX2" fmla="*/ 4309531 w 4316484"/>
              <a:gd name="connsiteY2" fmla="*/ 428983 h 438150"/>
              <a:gd name="connsiteX3" fmla="*/ 0 w 4316484"/>
              <a:gd name="connsiteY3" fmla="*/ 438150 h 438150"/>
              <a:gd name="connsiteX4" fmla="*/ 135995 w 4316484"/>
              <a:gd name="connsiteY4" fmla="*/ 0 h 438150"/>
              <a:gd name="connsiteX0" fmla="*/ 135995 w 4309531"/>
              <a:gd name="connsiteY0" fmla="*/ 0 h 438150"/>
              <a:gd name="connsiteX1" fmla="*/ 4307057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09531"/>
              <a:gd name="connsiteY0" fmla="*/ 0 h 438150"/>
              <a:gd name="connsiteX1" fmla="*/ 4307057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07057"/>
              <a:gd name="connsiteY0" fmla="*/ 0 h 438410"/>
              <a:gd name="connsiteX1" fmla="*/ 4307057 w 4307057"/>
              <a:gd name="connsiteY1" fmla="*/ 0 h 438410"/>
              <a:gd name="connsiteX2" fmla="*/ 4300104 w 4307057"/>
              <a:gd name="connsiteY2" fmla="*/ 438410 h 438410"/>
              <a:gd name="connsiteX3" fmla="*/ 0 w 4307057"/>
              <a:gd name="connsiteY3" fmla="*/ 438150 h 438410"/>
              <a:gd name="connsiteX4" fmla="*/ 135995 w 4307057"/>
              <a:gd name="connsiteY4" fmla="*/ 0 h 438410"/>
              <a:gd name="connsiteX0" fmla="*/ 135995 w 4307057"/>
              <a:gd name="connsiteY0" fmla="*/ 0 h 438410"/>
              <a:gd name="connsiteX1" fmla="*/ 4307057 w 4307057"/>
              <a:gd name="connsiteY1" fmla="*/ 0 h 438410"/>
              <a:gd name="connsiteX2" fmla="*/ 4303884 w 4307057"/>
              <a:gd name="connsiteY2" fmla="*/ 438410 h 438410"/>
              <a:gd name="connsiteX3" fmla="*/ 0 w 4307057"/>
              <a:gd name="connsiteY3" fmla="*/ 438150 h 438410"/>
              <a:gd name="connsiteX4" fmla="*/ 135995 w 4307057"/>
              <a:gd name="connsiteY4" fmla="*/ 0 h 438410"/>
              <a:gd name="connsiteX0" fmla="*/ 135995 w 4307664"/>
              <a:gd name="connsiteY0" fmla="*/ 0 h 438410"/>
              <a:gd name="connsiteX1" fmla="*/ 4307057 w 4307664"/>
              <a:gd name="connsiteY1" fmla="*/ 0 h 438410"/>
              <a:gd name="connsiteX2" fmla="*/ 4307664 w 4307664"/>
              <a:gd name="connsiteY2" fmla="*/ 438410 h 438410"/>
              <a:gd name="connsiteX3" fmla="*/ 0 w 4307664"/>
              <a:gd name="connsiteY3" fmla="*/ 438150 h 438410"/>
              <a:gd name="connsiteX4" fmla="*/ 135995 w 4307664"/>
              <a:gd name="connsiteY4" fmla="*/ 0 h 438410"/>
              <a:gd name="connsiteX0" fmla="*/ 100573 w 4307664"/>
              <a:gd name="connsiteY0" fmla="*/ 0 h 438410"/>
              <a:gd name="connsiteX1" fmla="*/ 4307057 w 4307664"/>
              <a:gd name="connsiteY1" fmla="*/ 0 h 438410"/>
              <a:gd name="connsiteX2" fmla="*/ 4307664 w 4307664"/>
              <a:gd name="connsiteY2" fmla="*/ 438410 h 438410"/>
              <a:gd name="connsiteX3" fmla="*/ 0 w 4307664"/>
              <a:gd name="connsiteY3" fmla="*/ 438150 h 438410"/>
              <a:gd name="connsiteX4" fmla="*/ 100573 w 4307664"/>
              <a:gd name="connsiteY4" fmla="*/ 0 h 438410"/>
              <a:gd name="connsiteX0" fmla="*/ 65150 w 4307664"/>
              <a:gd name="connsiteY0" fmla="*/ 12252 h 438410"/>
              <a:gd name="connsiteX1" fmla="*/ 4307057 w 4307664"/>
              <a:gd name="connsiteY1" fmla="*/ 0 h 438410"/>
              <a:gd name="connsiteX2" fmla="*/ 4307664 w 4307664"/>
              <a:gd name="connsiteY2" fmla="*/ 438410 h 438410"/>
              <a:gd name="connsiteX3" fmla="*/ 0 w 4307664"/>
              <a:gd name="connsiteY3" fmla="*/ 438150 h 438410"/>
              <a:gd name="connsiteX4" fmla="*/ 65150 w 4307664"/>
              <a:gd name="connsiteY4" fmla="*/ 12252 h 438410"/>
              <a:gd name="connsiteX0" fmla="*/ 65150 w 4307664"/>
              <a:gd name="connsiteY0" fmla="*/ 12252 h 438410"/>
              <a:gd name="connsiteX1" fmla="*/ 4307057 w 4307664"/>
              <a:gd name="connsiteY1" fmla="*/ 0 h 438410"/>
              <a:gd name="connsiteX2" fmla="*/ 4307664 w 4307664"/>
              <a:gd name="connsiteY2" fmla="*/ 438410 h 438410"/>
              <a:gd name="connsiteX3" fmla="*/ 0 w 4307664"/>
              <a:gd name="connsiteY3" fmla="*/ 438150 h 438410"/>
              <a:gd name="connsiteX4" fmla="*/ 65150 w 4307664"/>
              <a:gd name="connsiteY4" fmla="*/ 12252 h 438410"/>
              <a:gd name="connsiteX0" fmla="*/ 76956 w 4307664"/>
              <a:gd name="connsiteY0" fmla="*/ 0 h 462914"/>
              <a:gd name="connsiteX1" fmla="*/ 4307057 w 4307664"/>
              <a:gd name="connsiteY1" fmla="*/ 24504 h 462914"/>
              <a:gd name="connsiteX2" fmla="*/ 4307664 w 4307664"/>
              <a:gd name="connsiteY2" fmla="*/ 462914 h 462914"/>
              <a:gd name="connsiteX3" fmla="*/ 0 w 4307664"/>
              <a:gd name="connsiteY3" fmla="*/ 462654 h 462914"/>
              <a:gd name="connsiteX4" fmla="*/ 76956 w 4307664"/>
              <a:gd name="connsiteY4" fmla="*/ 0 h 462914"/>
              <a:gd name="connsiteX0" fmla="*/ 65149 w 4307664"/>
              <a:gd name="connsiteY0" fmla="*/ 12250 h 438410"/>
              <a:gd name="connsiteX1" fmla="*/ 4307057 w 4307664"/>
              <a:gd name="connsiteY1" fmla="*/ 0 h 438410"/>
              <a:gd name="connsiteX2" fmla="*/ 4307664 w 4307664"/>
              <a:gd name="connsiteY2" fmla="*/ 438410 h 438410"/>
              <a:gd name="connsiteX3" fmla="*/ 0 w 4307664"/>
              <a:gd name="connsiteY3" fmla="*/ 438150 h 438410"/>
              <a:gd name="connsiteX4" fmla="*/ 65149 w 4307664"/>
              <a:gd name="connsiteY4" fmla="*/ 12250 h 438410"/>
              <a:gd name="connsiteX0" fmla="*/ 65149 w 4307664"/>
              <a:gd name="connsiteY0" fmla="*/ 0 h 438411"/>
              <a:gd name="connsiteX1" fmla="*/ 4307057 w 4307664"/>
              <a:gd name="connsiteY1" fmla="*/ 1 h 438411"/>
              <a:gd name="connsiteX2" fmla="*/ 4307664 w 4307664"/>
              <a:gd name="connsiteY2" fmla="*/ 438411 h 438411"/>
              <a:gd name="connsiteX3" fmla="*/ 0 w 4307664"/>
              <a:gd name="connsiteY3" fmla="*/ 438151 h 438411"/>
              <a:gd name="connsiteX4" fmla="*/ 65149 w 4307664"/>
              <a:gd name="connsiteY4" fmla="*/ 0 h 438411"/>
              <a:gd name="connsiteX0" fmla="*/ 0 w 4708743"/>
              <a:gd name="connsiteY0" fmla="*/ 0 h 438411"/>
              <a:gd name="connsiteX1" fmla="*/ 4708136 w 4708743"/>
              <a:gd name="connsiteY1" fmla="*/ 1 h 438411"/>
              <a:gd name="connsiteX2" fmla="*/ 4708743 w 4708743"/>
              <a:gd name="connsiteY2" fmla="*/ 438411 h 438411"/>
              <a:gd name="connsiteX3" fmla="*/ 401079 w 4708743"/>
              <a:gd name="connsiteY3" fmla="*/ 438151 h 438411"/>
              <a:gd name="connsiteX4" fmla="*/ 0 w 4708743"/>
              <a:gd name="connsiteY4" fmla="*/ 0 h 438411"/>
              <a:gd name="connsiteX0" fmla="*/ 65148 w 4773891"/>
              <a:gd name="connsiteY0" fmla="*/ 0 h 438411"/>
              <a:gd name="connsiteX1" fmla="*/ 4773284 w 4773891"/>
              <a:gd name="connsiteY1" fmla="*/ 1 h 438411"/>
              <a:gd name="connsiteX2" fmla="*/ 4773891 w 4773891"/>
              <a:gd name="connsiteY2" fmla="*/ 438411 h 438411"/>
              <a:gd name="connsiteX3" fmla="*/ 0 w 4773891"/>
              <a:gd name="connsiteY3" fmla="*/ 413649 h 438411"/>
              <a:gd name="connsiteX4" fmla="*/ 65148 w 4773891"/>
              <a:gd name="connsiteY4" fmla="*/ 0 h 438411"/>
              <a:gd name="connsiteX0" fmla="*/ 115552 w 4773891"/>
              <a:gd name="connsiteY0" fmla="*/ 0 h 438411"/>
              <a:gd name="connsiteX1" fmla="*/ 4773284 w 4773891"/>
              <a:gd name="connsiteY1" fmla="*/ 1 h 438411"/>
              <a:gd name="connsiteX2" fmla="*/ 4773891 w 4773891"/>
              <a:gd name="connsiteY2" fmla="*/ 438411 h 438411"/>
              <a:gd name="connsiteX3" fmla="*/ 0 w 4773891"/>
              <a:gd name="connsiteY3" fmla="*/ 413649 h 438411"/>
              <a:gd name="connsiteX4" fmla="*/ 115552 w 4773891"/>
              <a:gd name="connsiteY4" fmla="*/ 0 h 438411"/>
              <a:gd name="connsiteX0" fmla="*/ 77750 w 4736089"/>
              <a:gd name="connsiteY0" fmla="*/ 0 h 438411"/>
              <a:gd name="connsiteX1" fmla="*/ 4735482 w 4736089"/>
              <a:gd name="connsiteY1" fmla="*/ 1 h 438411"/>
              <a:gd name="connsiteX2" fmla="*/ 4736089 w 4736089"/>
              <a:gd name="connsiteY2" fmla="*/ 438411 h 438411"/>
              <a:gd name="connsiteX3" fmla="*/ 0 w 4736089"/>
              <a:gd name="connsiteY3" fmla="*/ 425900 h 438411"/>
              <a:gd name="connsiteX4" fmla="*/ 77750 w 4736089"/>
              <a:gd name="connsiteY4" fmla="*/ 0 h 438411"/>
              <a:gd name="connsiteX0" fmla="*/ 102952 w 4761291"/>
              <a:gd name="connsiteY0" fmla="*/ 0 h 438411"/>
              <a:gd name="connsiteX1" fmla="*/ 4760684 w 4761291"/>
              <a:gd name="connsiteY1" fmla="*/ 1 h 438411"/>
              <a:gd name="connsiteX2" fmla="*/ 4761291 w 4761291"/>
              <a:gd name="connsiteY2" fmla="*/ 438411 h 438411"/>
              <a:gd name="connsiteX3" fmla="*/ 0 w 4761291"/>
              <a:gd name="connsiteY3" fmla="*/ 425900 h 438411"/>
              <a:gd name="connsiteX4" fmla="*/ 102952 w 4761291"/>
              <a:gd name="connsiteY4" fmla="*/ 0 h 438411"/>
              <a:gd name="connsiteX0" fmla="*/ 65150 w 4723489"/>
              <a:gd name="connsiteY0" fmla="*/ 0 h 450404"/>
              <a:gd name="connsiteX1" fmla="*/ 4722882 w 4723489"/>
              <a:gd name="connsiteY1" fmla="*/ 1 h 450404"/>
              <a:gd name="connsiteX2" fmla="*/ 4723489 w 4723489"/>
              <a:gd name="connsiteY2" fmla="*/ 438411 h 450404"/>
              <a:gd name="connsiteX3" fmla="*/ 0 w 4723489"/>
              <a:gd name="connsiteY3" fmla="*/ 450404 h 450404"/>
              <a:gd name="connsiteX4" fmla="*/ 65150 w 4723489"/>
              <a:gd name="connsiteY4" fmla="*/ 0 h 450404"/>
              <a:gd name="connsiteX0" fmla="*/ 102953 w 4761292"/>
              <a:gd name="connsiteY0" fmla="*/ 0 h 438411"/>
              <a:gd name="connsiteX1" fmla="*/ 4760685 w 4761292"/>
              <a:gd name="connsiteY1" fmla="*/ 1 h 438411"/>
              <a:gd name="connsiteX2" fmla="*/ 4761292 w 4761292"/>
              <a:gd name="connsiteY2" fmla="*/ 438411 h 438411"/>
              <a:gd name="connsiteX3" fmla="*/ 0 w 4761292"/>
              <a:gd name="connsiteY3" fmla="*/ 438152 h 438411"/>
              <a:gd name="connsiteX4" fmla="*/ 102953 w 4761292"/>
              <a:gd name="connsiteY4" fmla="*/ 0 h 438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61292" h="438411">
                <a:moveTo>
                  <a:pt x="102953" y="0"/>
                </a:moveTo>
                <a:lnTo>
                  <a:pt x="4760685" y="1"/>
                </a:lnTo>
                <a:cubicBezTo>
                  <a:pt x="4760685" y="146051"/>
                  <a:pt x="4761292" y="292361"/>
                  <a:pt x="4761292" y="438411"/>
                </a:cubicBezTo>
                <a:lnTo>
                  <a:pt x="0" y="438152"/>
                </a:lnTo>
                <a:lnTo>
                  <a:pt x="102953" y="0"/>
                </a:lnTo>
                <a:close/>
              </a:path>
            </a:pathLst>
          </a:custGeom>
          <a:solidFill>
            <a:srgbClr val="6E6B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b="1" dirty="0">
              <a:latin typeface="PT Sans Narrow" panose="020B0604020202020204" charset="-52"/>
            </a:endParaRPr>
          </a:p>
        </p:txBody>
      </p:sp>
      <p:sp>
        <p:nvSpPr>
          <p:cNvPr id="7" name="Заголовок 17"/>
          <p:cNvSpPr>
            <a:spLocks noGrp="1"/>
          </p:cNvSpPr>
          <p:nvPr>
            <p:ph type="title" hasCustomPrompt="1"/>
          </p:nvPr>
        </p:nvSpPr>
        <p:spPr>
          <a:xfrm>
            <a:off x="6718423" y="330123"/>
            <a:ext cx="4337812" cy="439623"/>
          </a:xfrm>
          <a:prstGeom prst="rect">
            <a:avLst/>
          </a:prstGeom>
        </p:spPr>
        <p:txBody>
          <a:bodyPr anchor="ctr" anchorCtr="0"/>
          <a:lstStyle>
            <a:lvl1pPr>
              <a:defRPr sz="1600" b="1">
                <a:solidFill>
                  <a:schemeClr val="bg1"/>
                </a:solidFill>
                <a:latin typeface="PT Sans Narrow" panose="020B0604020202020204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Полилиния 9"/>
          <p:cNvSpPr/>
          <p:nvPr userDrawn="1"/>
        </p:nvSpPr>
        <p:spPr>
          <a:xfrm>
            <a:off x="659" y="331336"/>
            <a:ext cx="695325" cy="2776047"/>
          </a:xfrm>
          <a:custGeom>
            <a:avLst/>
            <a:gdLst>
              <a:gd name="connsiteX0" fmla="*/ 0 w 657225"/>
              <a:gd name="connsiteY0" fmla="*/ 0 h 2162175"/>
              <a:gd name="connsiteX1" fmla="*/ 657225 w 657225"/>
              <a:gd name="connsiteY1" fmla="*/ 9525 h 2162175"/>
              <a:gd name="connsiteX2" fmla="*/ 19050 w 657225"/>
              <a:gd name="connsiteY2" fmla="*/ 2162175 h 2162175"/>
              <a:gd name="connsiteX3" fmla="*/ 0 w 657225"/>
              <a:gd name="connsiteY3" fmla="*/ 0 h 2162175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52992"/>
              <a:gd name="connsiteX1" fmla="*/ 657225 w 657225"/>
              <a:gd name="connsiteY1" fmla="*/ 9525 h 2152992"/>
              <a:gd name="connsiteX2" fmla="*/ 0 w 657225"/>
              <a:gd name="connsiteY2" fmla="*/ 2152992 h 2152992"/>
              <a:gd name="connsiteX3" fmla="*/ 0 w 657225"/>
              <a:gd name="connsiteY3" fmla="*/ 0 h 2152992"/>
              <a:gd name="connsiteX0" fmla="*/ 0 w 657225"/>
              <a:gd name="connsiteY0" fmla="*/ 17738 h 2170730"/>
              <a:gd name="connsiteX1" fmla="*/ 657225 w 657225"/>
              <a:gd name="connsiteY1" fmla="*/ 0 h 2170730"/>
              <a:gd name="connsiteX2" fmla="*/ 0 w 657225"/>
              <a:gd name="connsiteY2" fmla="*/ 2170730 h 2170730"/>
              <a:gd name="connsiteX3" fmla="*/ 0 w 657225"/>
              <a:gd name="connsiteY3" fmla="*/ 17738 h 2170730"/>
              <a:gd name="connsiteX0" fmla="*/ 0 w 657225"/>
              <a:gd name="connsiteY0" fmla="*/ 0 h 2171168"/>
              <a:gd name="connsiteX1" fmla="*/ 657225 w 657225"/>
              <a:gd name="connsiteY1" fmla="*/ 438 h 2171168"/>
              <a:gd name="connsiteX2" fmla="*/ 0 w 657225"/>
              <a:gd name="connsiteY2" fmla="*/ 2171168 h 2171168"/>
              <a:gd name="connsiteX3" fmla="*/ 0 w 657225"/>
              <a:gd name="connsiteY3" fmla="*/ 0 h 2171168"/>
              <a:gd name="connsiteX0" fmla="*/ 0 w 695325"/>
              <a:gd name="connsiteY0" fmla="*/ 0 h 2171168"/>
              <a:gd name="connsiteX1" fmla="*/ 695325 w 695325"/>
              <a:gd name="connsiteY1" fmla="*/ 438 h 2171168"/>
              <a:gd name="connsiteX2" fmla="*/ 0 w 695325"/>
              <a:gd name="connsiteY2" fmla="*/ 2171168 h 2171168"/>
              <a:gd name="connsiteX3" fmla="*/ 0 w 695325"/>
              <a:gd name="connsiteY3" fmla="*/ 0 h 2171168"/>
              <a:gd name="connsiteX0" fmla="*/ 9525 w 704850"/>
              <a:gd name="connsiteY0" fmla="*/ 0 h 2676201"/>
              <a:gd name="connsiteX1" fmla="*/ 704850 w 704850"/>
              <a:gd name="connsiteY1" fmla="*/ 438 h 2676201"/>
              <a:gd name="connsiteX2" fmla="*/ 0 w 704850"/>
              <a:gd name="connsiteY2" fmla="*/ 2676201 h 2676201"/>
              <a:gd name="connsiteX3" fmla="*/ 9525 w 704850"/>
              <a:gd name="connsiteY3" fmla="*/ 0 h 2676201"/>
              <a:gd name="connsiteX0" fmla="*/ 0 w 695325"/>
              <a:gd name="connsiteY0" fmla="*/ 0 h 2667019"/>
              <a:gd name="connsiteX1" fmla="*/ 695325 w 695325"/>
              <a:gd name="connsiteY1" fmla="*/ 438 h 2667019"/>
              <a:gd name="connsiteX2" fmla="*/ 9525 w 695325"/>
              <a:gd name="connsiteY2" fmla="*/ 2667019 h 2667019"/>
              <a:gd name="connsiteX3" fmla="*/ 0 w 695325"/>
              <a:gd name="connsiteY3" fmla="*/ 0 h 2667019"/>
              <a:gd name="connsiteX0" fmla="*/ 0 w 695325"/>
              <a:gd name="connsiteY0" fmla="*/ 0 h 2667019"/>
              <a:gd name="connsiteX1" fmla="*/ 695325 w 695325"/>
              <a:gd name="connsiteY1" fmla="*/ 438 h 2667019"/>
              <a:gd name="connsiteX2" fmla="*/ 9525 w 695325"/>
              <a:gd name="connsiteY2" fmla="*/ 2667019 h 2667019"/>
              <a:gd name="connsiteX3" fmla="*/ 0 w 695325"/>
              <a:gd name="connsiteY3" fmla="*/ 0 h 2667019"/>
              <a:gd name="connsiteX0" fmla="*/ 0 w 695325"/>
              <a:gd name="connsiteY0" fmla="*/ 0 h 2676201"/>
              <a:gd name="connsiteX1" fmla="*/ 695325 w 695325"/>
              <a:gd name="connsiteY1" fmla="*/ 438 h 2676201"/>
              <a:gd name="connsiteX2" fmla="*/ 0 w 695325"/>
              <a:gd name="connsiteY2" fmla="*/ 2676201 h 2676201"/>
              <a:gd name="connsiteX3" fmla="*/ 0 w 695325"/>
              <a:gd name="connsiteY3" fmla="*/ 0 h 2676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325" h="2676201">
                <a:moveTo>
                  <a:pt x="0" y="0"/>
                </a:moveTo>
                <a:lnTo>
                  <a:pt x="695325" y="438"/>
                </a:lnTo>
                <a:lnTo>
                  <a:pt x="0" y="2676201"/>
                </a:lnTo>
                <a:lnTo>
                  <a:pt x="0" y="0"/>
                </a:lnTo>
                <a:close/>
              </a:path>
            </a:pathLst>
          </a:custGeom>
          <a:solidFill>
            <a:srgbClr val="9829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Полилиния 10"/>
          <p:cNvSpPr/>
          <p:nvPr userDrawn="1"/>
        </p:nvSpPr>
        <p:spPr>
          <a:xfrm>
            <a:off x="0" y="0"/>
            <a:ext cx="428625" cy="1743075"/>
          </a:xfrm>
          <a:custGeom>
            <a:avLst/>
            <a:gdLst>
              <a:gd name="connsiteX0" fmla="*/ 0 w 447675"/>
              <a:gd name="connsiteY0" fmla="*/ 0 h 1447800"/>
              <a:gd name="connsiteX1" fmla="*/ 447675 w 447675"/>
              <a:gd name="connsiteY1" fmla="*/ 0 h 1447800"/>
              <a:gd name="connsiteX2" fmla="*/ 19050 w 447675"/>
              <a:gd name="connsiteY2" fmla="*/ 1447800 h 1447800"/>
              <a:gd name="connsiteX3" fmla="*/ 0 w 447675"/>
              <a:gd name="connsiteY3" fmla="*/ 0 h 1447800"/>
              <a:gd name="connsiteX0" fmla="*/ 0 w 447675"/>
              <a:gd name="connsiteY0" fmla="*/ 0 h 1476375"/>
              <a:gd name="connsiteX1" fmla="*/ 447675 w 447675"/>
              <a:gd name="connsiteY1" fmla="*/ 0 h 1476375"/>
              <a:gd name="connsiteX2" fmla="*/ 9525 w 447675"/>
              <a:gd name="connsiteY2" fmla="*/ 1476375 h 1476375"/>
              <a:gd name="connsiteX3" fmla="*/ 0 w 447675"/>
              <a:gd name="connsiteY3" fmla="*/ 0 h 1476375"/>
              <a:gd name="connsiteX0" fmla="*/ 0 w 438150"/>
              <a:gd name="connsiteY0" fmla="*/ 28575 h 1476375"/>
              <a:gd name="connsiteX1" fmla="*/ 438150 w 438150"/>
              <a:gd name="connsiteY1" fmla="*/ 0 h 1476375"/>
              <a:gd name="connsiteX2" fmla="*/ 0 w 438150"/>
              <a:gd name="connsiteY2" fmla="*/ 1476375 h 1476375"/>
              <a:gd name="connsiteX3" fmla="*/ 0 w 438150"/>
              <a:gd name="connsiteY3" fmla="*/ 28575 h 1476375"/>
              <a:gd name="connsiteX0" fmla="*/ 9525 w 438150"/>
              <a:gd name="connsiteY0" fmla="*/ 9525 h 1476375"/>
              <a:gd name="connsiteX1" fmla="*/ 438150 w 438150"/>
              <a:gd name="connsiteY1" fmla="*/ 0 h 1476375"/>
              <a:gd name="connsiteX2" fmla="*/ 0 w 438150"/>
              <a:gd name="connsiteY2" fmla="*/ 1476375 h 1476375"/>
              <a:gd name="connsiteX3" fmla="*/ 9525 w 438150"/>
              <a:gd name="connsiteY3" fmla="*/ 9525 h 1476375"/>
              <a:gd name="connsiteX0" fmla="*/ 0 w 428625"/>
              <a:gd name="connsiteY0" fmla="*/ 9525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0 w 428625"/>
              <a:gd name="connsiteY3" fmla="*/ 9525 h 1504950"/>
              <a:gd name="connsiteX0" fmla="*/ 19050 w 428625"/>
              <a:gd name="connsiteY0" fmla="*/ 0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19050 w 428625"/>
              <a:gd name="connsiteY3" fmla="*/ 0 h 1504950"/>
              <a:gd name="connsiteX0" fmla="*/ 0 w 428625"/>
              <a:gd name="connsiteY0" fmla="*/ 0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0 w 428625"/>
              <a:gd name="connsiteY3" fmla="*/ 0 h 1504950"/>
              <a:gd name="connsiteX0" fmla="*/ 0 w 428625"/>
              <a:gd name="connsiteY0" fmla="*/ 0 h 1581150"/>
              <a:gd name="connsiteX1" fmla="*/ 428625 w 428625"/>
              <a:gd name="connsiteY1" fmla="*/ 0 h 1581150"/>
              <a:gd name="connsiteX2" fmla="*/ 0 w 428625"/>
              <a:gd name="connsiteY2" fmla="*/ 1581150 h 1581150"/>
              <a:gd name="connsiteX3" fmla="*/ 0 w 428625"/>
              <a:gd name="connsiteY3" fmla="*/ 0 h 1581150"/>
              <a:gd name="connsiteX0" fmla="*/ 0 w 428625"/>
              <a:gd name="connsiteY0" fmla="*/ 0 h 1743075"/>
              <a:gd name="connsiteX1" fmla="*/ 428625 w 428625"/>
              <a:gd name="connsiteY1" fmla="*/ 0 h 1743075"/>
              <a:gd name="connsiteX2" fmla="*/ 0 w 428625"/>
              <a:gd name="connsiteY2" fmla="*/ 1743075 h 1743075"/>
              <a:gd name="connsiteX3" fmla="*/ 0 w 428625"/>
              <a:gd name="connsiteY3" fmla="*/ 0 h 1743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8625" h="1743075">
                <a:moveTo>
                  <a:pt x="0" y="0"/>
                </a:moveTo>
                <a:lnTo>
                  <a:pt x="428625" y="0"/>
                </a:lnTo>
                <a:lnTo>
                  <a:pt x="0" y="1743075"/>
                </a:lnTo>
                <a:lnTo>
                  <a:pt x="0" y="0"/>
                </a:lnTo>
                <a:close/>
              </a:path>
            </a:pathLst>
          </a:custGeom>
          <a:solidFill>
            <a:srgbClr val="6E6B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>
          <a:xfrm>
            <a:off x="7509505" y="769746"/>
            <a:ext cx="3544258" cy="337327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400" b="1">
                <a:solidFill>
                  <a:schemeClr val="bg1"/>
                </a:solidFill>
                <a:latin typeface="PT Sans Narrow" panose="020B0604020202020204" charset="-52"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7905500" y="7526079"/>
            <a:ext cx="302198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+7</a:t>
            </a:r>
            <a:r>
              <a:rPr lang="ru-RU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 </a:t>
            </a:r>
            <a:r>
              <a:rPr lang="en-US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(495) 741</a:t>
            </a:r>
            <a:r>
              <a:rPr lang="en-US" sz="150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 87 74</a:t>
            </a:r>
            <a:r>
              <a:rPr lang="ru-RU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 </a:t>
            </a:r>
            <a:r>
              <a:rPr lang="en-US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| www.freightvillage.ru</a:t>
            </a:r>
            <a:endParaRPr lang="ru-RU" sz="1500" dirty="0">
              <a:solidFill>
                <a:schemeClr val="tx1">
                  <a:lumMod val="75000"/>
                  <a:lumOff val="25000"/>
                </a:schemeClr>
              </a:solidFill>
              <a:latin typeface="PT Sans Narrow" panose="020B0506020203020204" pitchFamily="34" charset="-52"/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416" y="7476185"/>
            <a:ext cx="1873081" cy="364837"/>
          </a:xfrm>
          <a:prstGeom prst="rect">
            <a:avLst/>
          </a:prstGeom>
        </p:spPr>
      </p:pic>
      <p:sp>
        <p:nvSpPr>
          <p:cNvPr id="12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276262" y="12374"/>
            <a:ext cx="2579211" cy="317749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PT Sans Narrow" panose="020B0506020203020204" pitchFamily="34" charset="-52"/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98984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2720924" y="7526079"/>
            <a:ext cx="302198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+7</a:t>
            </a:r>
            <a:r>
              <a:rPr lang="ru-RU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 </a:t>
            </a:r>
            <a:r>
              <a:rPr lang="en-US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(495) 268</a:t>
            </a:r>
            <a:r>
              <a:rPr lang="ru-RU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 </a:t>
            </a:r>
            <a:r>
              <a:rPr lang="en-US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12</a:t>
            </a:r>
            <a:r>
              <a:rPr lang="ru-RU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 </a:t>
            </a:r>
            <a:r>
              <a:rPr lang="en-US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86</a:t>
            </a:r>
            <a:r>
              <a:rPr lang="ru-RU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 </a:t>
            </a:r>
            <a:r>
              <a:rPr lang="en-US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| www.freightvillage.ru</a:t>
            </a:r>
            <a:endParaRPr lang="ru-RU" sz="1500" dirty="0">
              <a:solidFill>
                <a:schemeClr val="bg1"/>
              </a:solidFill>
              <a:latin typeface="PT Sans Narrow" panose="020B0506020203020204" pitchFamily="34" charset="-52"/>
            </a:endParaRP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053763" cy="7921625"/>
          </a:xfrm>
          <a:prstGeom prst="rect">
            <a:avLst/>
          </a:prstGeom>
        </p:spPr>
      </p:pic>
      <p:sp>
        <p:nvSpPr>
          <p:cNvPr id="9" name="Параллелограмм 8"/>
          <p:cNvSpPr/>
          <p:nvPr userDrawn="1"/>
        </p:nvSpPr>
        <p:spPr>
          <a:xfrm>
            <a:off x="-1025847" y="5212544"/>
            <a:ext cx="6912768" cy="5256956"/>
          </a:xfrm>
          <a:prstGeom prst="parallelogram">
            <a:avLst/>
          </a:prstGeom>
          <a:solidFill>
            <a:srgbClr val="9829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14" name="TextBox 13"/>
          <p:cNvSpPr txBox="1"/>
          <p:nvPr userDrawn="1"/>
        </p:nvSpPr>
        <p:spPr>
          <a:xfrm rot="17067624">
            <a:off x="4268887" y="6494091"/>
            <a:ext cx="1467068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+7</a:t>
            </a:r>
            <a:r>
              <a:rPr lang="ru-RU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 </a:t>
            </a:r>
            <a:r>
              <a:rPr lang="en-US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(495) 268</a:t>
            </a:r>
            <a:r>
              <a:rPr lang="ru-RU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 </a:t>
            </a:r>
            <a:r>
              <a:rPr lang="en-US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12</a:t>
            </a:r>
            <a:r>
              <a:rPr lang="ru-RU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 </a:t>
            </a:r>
            <a:r>
              <a:rPr lang="en-US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86</a:t>
            </a:r>
            <a:endParaRPr lang="ru-RU" sz="1500" dirty="0">
              <a:solidFill>
                <a:schemeClr val="bg1"/>
              </a:solidFill>
              <a:latin typeface="PT Sans Narrow" panose="020B0506020203020204" pitchFamily="34" charset="-52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416" y="7476185"/>
            <a:ext cx="1873081" cy="364837"/>
          </a:xfrm>
          <a:prstGeom prst="rect">
            <a:avLst/>
          </a:prstGeom>
        </p:spPr>
      </p:pic>
      <p:sp>
        <p:nvSpPr>
          <p:cNvPr id="16" name="Параллелограмм 15"/>
          <p:cNvSpPr/>
          <p:nvPr userDrawn="1"/>
        </p:nvSpPr>
        <p:spPr>
          <a:xfrm>
            <a:off x="-1673919" y="4763779"/>
            <a:ext cx="6912768" cy="5256956"/>
          </a:xfrm>
          <a:prstGeom prst="parallelogram">
            <a:avLst/>
          </a:prstGeom>
          <a:solidFill>
            <a:srgbClr val="B6B1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>
              <a:latin typeface="PT Sans Narrow" panose="020B0604020202020204" charset="-52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 rot="17067624">
            <a:off x="4426579" y="6497366"/>
            <a:ext cx="162256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dirty="0">
                <a:solidFill>
                  <a:schemeClr val="bg1"/>
                </a:solidFill>
                <a:latin typeface="PT Sans Narrow" panose="020B0506020203020204" pitchFamily="34" charset="-52"/>
              </a:rPr>
              <a:t>www.freightvillage.ru</a:t>
            </a:r>
            <a:endParaRPr lang="ru-RU" sz="1500" dirty="0">
              <a:solidFill>
                <a:schemeClr val="bg1"/>
              </a:solidFill>
              <a:latin typeface="PT Sans Narrow" panose="020B0506020203020204" pitchFamily="34" charset="-52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9816" y="7489204"/>
            <a:ext cx="1873081" cy="364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7720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_COVER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20" y="2447"/>
          <a:ext cx="1918" cy="2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20" y="2447"/>
                        <a:ext cx="1918" cy="244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5829" y="840508"/>
            <a:ext cx="10250645" cy="450314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 dirty="0"/>
              <a:t>Click to edit master title</a:t>
            </a:r>
          </a:p>
        </p:txBody>
      </p:sp>
      <p:sp>
        <p:nvSpPr>
          <p:cNvPr id="13" name="Footer Placeholder 12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4" name="Slide Number Placeholder 13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29EDC9FD-F9E3-41FC-BC65-6AAEA719EB39}"/>
              </a:ext>
            </a:extLst>
          </p:cNvPr>
          <p:cNvCxnSpPr/>
          <p:nvPr userDrawn="1"/>
        </p:nvCxnSpPr>
        <p:spPr>
          <a:xfrm>
            <a:off x="-4046" y="1547177"/>
            <a:ext cx="11050823" cy="0"/>
          </a:xfrm>
          <a:prstGeom prst="line">
            <a:avLst/>
          </a:prstGeom>
          <a:noFill/>
          <a:ln w="19050" cap="rnd">
            <a:solidFill>
              <a:srgbClr val="E1301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7709905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5" r:id="rId2"/>
    <p:sldLayoutId id="2147483650" r:id="rId3"/>
    <p:sldLayoutId id="2147483651" r:id="rId4"/>
    <p:sldLayoutId id="2147483653" r:id="rId5"/>
    <p:sldLayoutId id="2147483654" r:id="rId6"/>
  </p:sldLayoutIdLst>
  <p:hf hdr="0" ftr="0" dt="0"/>
  <p:txStyles>
    <p:titleStyle>
      <a:lvl1pPr algn="ctr" defTabSz="1084296" rtl="0" eaLnBrk="1" latinLnBrk="0" hangingPunct="1">
        <a:spcBef>
          <a:spcPct val="0"/>
        </a:spcBef>
        <a:buNone/>
        <a:defRPr sz="5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06611" indent="-406611" algn="l" defTabSz="1084296" rtl="0" eaLnBrk="1" latinLnBrk="0" hangingPunct="1">
        <a:spcBef>
          <a:spcPct val="20000"/>
        </a:spcBef>
        <a:buFont typeface="Arial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880990" indent="-338842" algn="l" defTabSz="1084296" rtl="0" eaLnBrk="1" latinLnBrk="0" hangingPunct="1">
        <a:spcBef>
          <a:spcPct val="20000"/>
        </a:spcBef>
        <a:buFont typeface="Arial" pitchFamily="34" charset="0"/>
        <a:buChar char="–"/>
        <a:defRPr sz="3300" kern="1200">
          <a:solidFill>
            <a:schemeClr val="tx1"/>
          </a:solidFill>
          <a:latin typeface="+mn-lt"/>
          <a:ea typeface="+mn-ea"/>
          <a:cs typeface="+mn-cs"/>
        </a:defRPr>
      </a:lvl2pPr>
      <a:lvl3pPr marL="1355369" indent="-271074" algn="l" defTabSz="1084296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897517" indent="-271074" algn="l" defTabSz="1084296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9665" indent="-271074" algn="l" defTabSz="1084296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81813" indent="-271074" algn="l" defTabSz="108429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23960" indent="-271074" algn="l" defTabSz="108429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66108" indent="-271074" algn="l" defTabSz="108429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08256" indent="-271074" algn="l" defTabSz="108429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8429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2148" algn="l" defTabSz="108429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4296" algn="l" defTabSz="108429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26443" algn="l" defTabSz="108429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68591" algn="l" defTabSz="108429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10739" algn="l" defTabSz="108429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52887" algn="l" defTabSz="108429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95034" algn="l" defTabSz="108429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37182" algn="l" defTabSz="108429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svg"/><Relationship Id="rId3" Type="http://schemas.openxmlformats.org/officeDocument/2006/relationships/image" Target="../media/image19.png"/><Relationship Id="rId7" Type="http://schemas.openxmlformats.org/officeDocument/2006/relationships/image" Target="../media/image30.svg"/><Relationship Id="rId12" Type="http://schemas.openxmlformats.org/officeDocument/2006/relationships/image" Target="../media/image35.png"/><Relationship Id="rId17" Type="http://schemas.openxmlformats.org/officeDocument/2006/relationships/image" Target="../media/image39.sv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3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png"/><Relationship Id="rId11" Type="http://schemas.openxmlformats.org/officeDocument/2006/relationships/image" Target="../media/image34.svg"/><Relationship Id="rId5" Type="http://schemas.openxmlformats.org/officeDocument/2006/relationships/image" Target="../media/image28.svg"/><Relationship Id="rId15" Type="http://schemas.microsoft.com/office/2007/relationships/hdphoto" Target="../media/hdphoto1.wdp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svg"/><Relationship Id="rId14" Type="http://schemas.openxmlformats.org/officeDocument/2006/relationships/image" Target="../media/image3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2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tags" Target="../tags/tag8.xml"/><Relationship Id="rId7" Type="http://schemas.openxmlformats.org/officeDocument/2006/relationships/image" Target="../media/image41.png"/><Relationship Id="rId12" Type="http://schemas.openxmlformats.org/officeDocument/2006/relationships/image" Target="../media/image32.sv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0.emf"/><Relationship Id="rId11" Type="http://schemas.openxmlformats.org/officeDocument/2006/relationships/image" Target="../media/image31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4.sv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4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48.svg"/><Relationship Id="rId18" Type="http://schemas.openxmlformats.org/officeDocument/2006/relationships/image" Target="../media/image51.png"/><Relationship Id="rId3" Type="http://schemas.openxmlformats.org/officeDocument/2006/relationships/tags" Target="../tags/tag10.xml"/><Relationship Id="rId21" Type="http://schemas.openxmlformats.org/officeDocument/2006/relationships/image" Target="../media/image34.svg"/><Relationship Id="rId7" Type="http://schemas.openxmlformats.org/officeDocument/2006/relationships/image" Target="../media/image40.emf"/><Relationship Id="rId12" Type="http://schemas.openxmlformats.org/officeDocument/2006/relationships/image" Target="../media/image47.png"/><Relationship Id="rId17" Type="http://schemas.openxmlformats.org/officeDocument/2006/relationships/image" Target="../media/image36.svg"/><Relationship Id="rId2" Type="http://schemas.openxmlformats.org/officeDocument/2006/relationships/tags" Target="../tags/tag9.xml"/><Relationship Id="rId16" Type="http://schemas.openxmlformats.org/officeDocument/2006/relationships/image" Target="../media/image35.png"/><Relationship Id="rId20" Type="http://schemas.openxmlformats.org/officeDocument/2006/relationships/image" Target="../media/image33.png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32.svg"/><Relationship Id="rId5" Type="http://schemas.openxmlformats.org/officeDocument/2006/relationships/notesSlide" Target="../notesSlides/notesSlide12.xml"/><Relationship Id="rId15" Type="http://schemas.openxmlformats.org/officeDocument/2006/relationships/image" Target="../media/image50.svg"/><Relationship Id="rId23" Type="http://schemas.openxmlformats.org/officeDocument/2006/relationships/image" Target="../media/image39.svg"/><Relationship Id="rId10" Type="http://schemas.openxmlformats.org/officeDocument/2006/relationships/image" Target="../media/image31.png"/><Relationship Id="rId19" Type="http://schemas.openxmlformats.org/officeDocument/2006/relationships/image" Target="../media/image52.sv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46.svg"/><Relationship Id="rId14" Type="http://schemas.openxmlformats.org/officeDocument/2006/relationships/image" Target="../media/image49.png"/><Relationship Id="rId22" Type="http://schemas.openxmlformats.org/officeDocument/2006/relationships/image" Target="../media/image38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54.png"/><Relationship Id="rId7" Type="http://schemas.openxmlformats.org/officeDocument/2006/relationships/image" Target="../media/image58.jpeg"/><Relationship Id="rId2" Type="http://schemas.openxmlformats.org/officeDocument/2006/relationships/hyperlink" Target="http://freightvillage.ru/" TargetMode="Externa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4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wmf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wmf"/><Relationship Id="rId5" Type="http://schemas.openxmlformats.org/officeDocument/2006/relationships/image" Target="../media/image16.wmf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Овал 11"/>
          <p:cNvSpPr/>
          <p:nvPr/>
        </p:nvSpPr>
        <p:spPr>
          <a:xfrm>
            <a:off x="4014713" y="-343825"/>
            <a:ext cx="6582510" cy="142431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635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6607001" y="6038011"/>
            <a:ext cx="4464496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  <a:latin typeface="PT Sans Narrow" panose="020B0604020202020204" charset="-52"/>
              </a:rPr>
              <a:t>Alexander </a:t>
            </a:r>
            <a:r>
              <a:rPr lang="en-US" sz="1800" dirty="0" err="1">
                <a:solidFill>
                  <a:schemeClr val="bg1"/>
                </a:solidFill>
                <a:latin typeface="PT Sans Narrow" panose="020B0604020202020204" charset="-52"/>
              </a:rPr>
              <a:t>Oleynikov</a:t>
            </a:r>
            <a:endParaRPr lang="en-US" sz="1800" dirty="0">
              <a:solidFill>
                <a:schemeClr val="bg1"/>
              </a:solidFill>
              <a:latin typeface="PT Sans Narrow" panose="020B0604020202020204" charset="-52"/>
            </a:endParaRPr>
          </a:p>
          <a:p>
            <a:r>
              <a:rPr lang="en-US" sz="1400" dirty="0" err="1">
                <a:solidFill>
                  <a:schemeClr val="bg1"/>
                </a:solidFill>
                <a:latin typeface="PT Sans Narrow" panose="020B0604020202020204" charset="-52"/>
              </a:rPr>
              <a:t>Ph.D</a:t>
            </a:r>
            <a:r>
              <a:rPr lang="en-US" sz="1400" dirty="0">
                <a:solidFill>
                  <a:schemeClr val="bg1"/>
                </a:solidFill>
                <a:latin typeface="PT Sans Narrow" panose="020B0604020202020204" charset="-52"/>
              </a:rPr>
              <a:t> in economics, </a:t>
            </a:r>
            <a:br>
              <a:rPr lang="en-US" sz="1400" dirty="0">
                <a:solidFill>
                  <a:schemeClr val="bg1"/>
                </a:solidFill>
                <a:latin typeface="PT Sans Narrow" panose="020B0604020202020204" charset="-52"/>
              </a:rPr>
            </a:br>
            <a:r>
              <a:rPr lang="en-US" sz="1400" dirty="0">
                <a:solidFill>
                  <a:schemeClr val="bg1"/>
                </a:solidFill>
                <a:latin typeface="PT Sans Narrow" panose="020B0604020202020204" charset="-52"/>
              </a:rPr>
              <a:t>Director for government and international organizations relations</a:t>
            </a:r>
            <a:endParaRPr lang="ru-RU" sz="1400" dirty="0">
              <a:solidFill>
                <a:schemeClr val="bg1"/>
              </a:solidFill>
              <a:latin typeface="PT Sans Narrow" panose="020B0604020202020204" charset="-52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607001" y="6829519"/>
            <a:ext cx="47525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PT Sans Narrow" pitchFamily="34" charset="-52"/>
              </a:rPr>
              <a:t>November 20, 2018</a:t>
            </a:r>
            <a:endParaRPr lang="ru-RU" sz="1400" dirty="0">
              <a:solidFill>
                <a:schemeClr val="bg1"/>
              </a:solidFill>
              <a:latin typeface="PT Sans Narrow" panose="020B0604020202020204" charset="-52"/>
            </a:endParaRPr>
          </a:p>
          <a:p>
            <a:r>
              <a:rPr lang="en-US" sz="1400" dirty="0">
                <a:solidFill>
                  <a:schemeClr val="bg1"/>
                </a:solidFill>
                <a:latin typeface="PT Sans Narrow" pitchFamily="34" charset="-52"/>
              </a:rPr>
              <a:t>Geneva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607001" y="4896916"/>
            <a:ext cx="43360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PT Sans Narrow" panose="020B0604020202020204" charset="-52"/>
              </a:rPr>
              <a:t>KEY DIRECTIONS OF THE REGIONAL LOGISTICS SYSTEM DEVELOPMENT, </a:t>
            </a:r>
          </a:p>
          <a:p>
            <a:r>
              <a:rPr lang="en-US" sz="2000" dirty="0">
                <a:solidFill>
                  <a:schemeClr val="bg1"/>
                </a:solidFill>
                <a:latin typeface="PT Sans Narrow" panose="020B0604020202020204" charset="-52"/>
              </a:rPr>
              <a:t>APPLICATED BY FREIGHT VILLAGE RU</a:t>
            </a:r>
            <a:endParaRPr lang="ru-RU" sz="2000" dirty="0">
              <a:solidFill>
                <a:schemeClr val="bg1"/>
              </a:solidFill>
              <a:latin typeface="PT Sans Narrow" panose="020B060402020202020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090083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10</a:t>
            </a:fld>
            <a:endParaRPr lang="ru-RU"/>
          </a:p>
        </p:txBody>
      </p:sp>
      <p:sp>
        <p:nvSpPr>
          <p:cNvPr id="11" name="Полилиния 10"/>
          <p:cNvSpPr/>
          <p:nvPr/>
        </p:nvSpPr>
        <p:spPr>
          <a:xfrm>
            <a:off x="6718423" y="331336"/>
            <a:ext cx="4337812" cy="438410"/>
          </a:xfrm>
          <a:custGeom>
            <a:avLst/>
            <a:gdLst>
              <a:gd name="connsiteX0" fmla="*/ 76200 w 3352800"/>
              <a:gd name="connsiteY0" fmla="*/ 0 h 438150"/>
              <a:gd name="connsiteX1" fmla="*/ 3352800 w 3352800"/>
              <a:gd name="connsiteY1" fmla="*/ 9525 h 438150"/>
              <a:gd name="connsiteX2" fmla="*/ 3352800 w 3352800"/>
              <a:gd name="connsiteY2" fmla="*/ 438150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52800"/>
              <a:gd name="connsiteY0" fmla="*/ 0 h 438150"/>
              <a:gd name="connsiteX1" fmla="*/ 3343275 w 3352800"/>
              <a:gd name="connsiteY1" fmla="*/ 0 h 438150"/>
              <a:gd name="connsiteX2" fmla="*/ 3352800 w 3352800"/>
              <a:gd name="connsiteY2" fmla="*/ 438150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43275"/>
              <a:gd name="connsiteY0" fmla="*/ 0 h 438150"/>
              <a:gd name="connsiteX1" fmla="*/ 3343275 w 3343275"/>
              <a:gd name="connsiteY1" fmla="*/ 0 h 438150"/>
              <a:gd name="connsiteX2" fmla="*/ 3333750 w 3343275"/>
              <a:gd name="connsiteY2" fmla="*/ 438150 h 438150"/>
              <a:gd name="connsiteX3" fmla="*/ 0 w 3343275"/>
              <a:gd name="connsiteY3" fmla="*/ 438150 h 438150"/>
              <a:gd name="connsiteX4" fmla="*/ 76200 w 3343275"/>
              <a:gd name="connsiteY4" fmla="*/ 0 h 438150"/>
              <a:gd name="connsiteX0" fmla="*/ 76200 w 3352800"/>
              <a:gd name="connsiteY0" fmla="*/ 0 h 438150"/>
              <a:gd name="connsiteX1" fmla="*/ 3343275 w 3352800"/>
              <a:gd name="connsiteY1" fmla="*/ 0 h 438150"/>
              <a:gd name="connsiteX2" fmla="*/ 3352800 w 3352800"/>
              <a:gd name="connsiteY2" fmla="*/ 428625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43275"/>
              <a:gd name="connsiteY0" fmla="*/ 0 h 447675"/>
              <a:gd name="connsiteX1" fmla="*/ 3343275 w 3343275"/>
              <a:gd name="connsiteY1" fmla="*/ 0 h 447675"/>
              <a:gd name="connsiteX2" fmla="*/ 3333750 w 3343275"/>
              <a:gd name="connsiteY2" fmla="*/ 447675 h 447675"/>
              <a:gd name="connsiteX3" fmla="*/ 0 w 3343275"/>
              <a:gd name="connsiteY3" fmla="*/ 438150 h 447675"/>
              <a:gd name="connsiteX4" fmla="*/ 76200 w 3343275"/>
              <a:gd name="connsiteY4" fmla="*/ 0 h 447675"/>
              <a:gd name="connsiteX0" fmla="*/ 76200 w 3343275"/>
              <a:gd name="connsiteY0" fmla="*/ 0 h 438150"/>
              <a:gd name="connsiteX1" fmla="*/ 3343275 w 3343275"/>
              <a:gd name="connsiteY1" fmla="*/ 0 h 438150"/>
              <a:gd name="connsiteX2" fmla="*/ 3343275 w 3343275"/>
              <a:gd name="connsiteY2" fmla="*/ 438150 h 438150"/>
              <a:gd name="connsiteX3" fmla="*/ 0 w 3343275"/>
              <a:gd name="connsiteY3" fmla="*/ 438150 h 438150"/>
              <a:gd name="connsiteX4" fmla="*/ 76200 w 3343275"/>
              <a:gd name="connsiteY4" fmla="*/ 0 h 438150"/>
              <a:gd name="connsiteX0" fmla="*/ 144439 w 3411514"/>
              <a:gd name="connsiteY0" fmla="*/ 0 h 438150"/>
              <a:gd name="connsiteX1" fmla="*/ 3411514 w 3411514"/>
              <a:gd name="connsiteY1" fmla="*/ 0 h 438150"/>
              <a:gd name="connsiteX2" fmla="*/ 3411514 w 3411514"/>
              <a:gd name="connsiteY2" fmla="*/ 438150 h 438150"/>
              <a:gd name="connsiteX3" fmla="*/ 0 w 3411514"/>
              <a:gd name="connsiteY3" fmla="*/ 438150 h 438150"/>
              <a:gd name="connsiteX4" fmla="*/ 144439 w 3411514"/>
              <a:gd name="connsiteY4" fmla="*/ 0 h 438150"/>
              <a:gd name="connsiteX0" fmla="*/ 117143 w 3384218"/>
              <a:gd name="connsiteY0" fmla="*/ 0 h 438150"/>
              <a:gd name="connsiteX1" fmla="*/ 3384218 w 3384218"/>
              <a:gd name="connsiteY1" fmla="*/ 0 h 438150"/>
              <a:gd name="connsiteX2" fmla="*/ 3384218 w 3384218"/>
              <a:gd name="connsiteY2" fmla="*/ 438150 h 438150"/>
              <a:gd name="connsiteX3" fmla="*/ 0 w 3384218"/>
              <a:gd name="connsiteY3" fmla="*/ 438150 h 438150"/>
              <a:gd name="connsiteX4" fmla="*/ 117143 w 3384218"/>
              <a:gd name="connsiteY4" fmla="*/ 0 h 438150"/>
              <a:gd name="connsiteX0" fmla="*/ 117143 w 4325913"/>
              <a:gd name="connsiteY0" fmla="*/ 0 h 438150"/>
              <a:gd name="connsiteX1" fmla="*/ 4325913 w 4325913"/>
              <a:gd name="connsiteY1" fmla="*/ 0 h 438150"/>
              <a:gd name="connsiteX2" fmla="*/ 3384218 w 4325913"/>
              <a:gd name="connsiteY2" fmla="*/ 438150 h 438150"/>
              <a:gd name="connsiteX3" fmla="*/ 0 w 4325913"/>
              <a:gd name="connsiteY3" fmla="*/ 438150 h 438150"/>
              <a:gd name="connsiteX4" fmla="*/ 117143 w 4325913"/>
              <a:gd name="connsiteY4" fmla="*/ 0 h 438150"/>
              <a:gd name="connsiteX0" fmla="*/ 117143 w 4325913"/>
              <a:gd name="connsiteY0" fmla="*/ 0 h 451798"/>
              <a:gd name="connsiteX1" fmla="*/ 4325913 w 4325913"/>
              <a:gd name="connsiteY1" fmla="*/ 0 h 451798"/>
              <a:gd name="connsiteX2" fmla="*/ 4312266 w 4325913"/>
              <a:gd name="connsiteY2" fmla="*/ 451798 h 451798"/>
              <a:gd name="connsiteX3" fmla="*/ 0 w 4325913"/>
              <a:gd name="connsiteY3" fmla="*/ 438150 h 451798"/>
              <a:gd name="connsiteX4" fmla="*/ 117143 w 4325913"/>
              <a:gd name="connsiteY4" fmla="*/ 0 h 451798"/>
              <a:gd name="connsiteX0" fmla="*/ 117143 w 4325914"/>
              <a:gd name="connsiteY0" fmla="*/ 0 h 438150"/>
              <a:gd name="connsiteX1" fmla="*/ 4325913 w 4325914"/>
              <a:gd name="connsiteY1" fmla="*/ 0 h 438150"/>
              <a:gd name="connsiteX2" fmla="*/ 4325914 w 4325914"/>
              <a:gd name="connsiteY2" fmla="*/ 438150 h 438150"/>
              <a:gd name="connsiteX3" fmla="*/ 0 w 4325914"/>
              <a:gd name="connsiteY3" fmla="*/ 438150 h 438150"/>
              <a:gd name="connsiteX4" fmla="*/ 117143 w 4325914"/>
              <a:gd name="connsiteY4" fmla="*/ 0 h 438150"/>
              <a:gd name="connsiteX0" fmla="*/ 117143 w 4339562"/>
              <a:gd name="connsiteY0" fmla="*/ 0 h 451797"/>
              <a:gd name="connsiteX1" fmla="*/ 4325913 w 4339562"/>
              <a:gd name="connsiteY1" fmla="*/ 0 h 451797"/>
              <a:gd name="connsiteX2" fmla="*/ 4339562 w 4339562"/>
              <a:gd name="connsiteY2" fmla="*/ 451797 h 451797"/>
              <a:gd name="connsiteX3" fmla="*/ 0 w 4339562"/>
              <a:gd name="connsiteY3" fmla="*/ 438150 h 451797"/>
              <a:gd name="connsiteX4" fmla="*/ 117143 w 4339562"/>
              <a:gd name="connsiteY4" fmla="*/ 0 h 451797"/>
              <a:gd name="connsiteX0" fmla="*/ 117143 w 4325913"/>
              <a:gd name="connsiteY0" fmla="*/ 0 h 451797"/>
              <a:gd name="connsiteX1" fmla="*/ 4325913 w 4325913"/>
              <a:gd name="connsiteY1" fmla="*/ 0 h 451797"/>
              <a:gd name="connsiteX2" fmla="*/ 4312266 w 4325913"/>
              <a:gd name="connsiteY2" fmla="*/ 451797 h 451797"/>
              <a:gd name="connsiteX3" fmla="*/ 0 w 4325913"/>
              <a:gd name="connsiteY3" fmla="*/ 438150 h 451797"/>
              <a:gd name="connsiteX4" fmla="*/ 117143 w 4325913"/>
              <a:gd name="connsiteY4" fmla="*/ 0 h 451797"/>
              <a:gd name="connsiteX0" fmla="*/ 117143 w 4325914"/>
              <a:gd name="connsiteY0" fmla="*/ 0 h 438150"/>
              <a:gd name="connsiteX1" fmla="*/ 4325913 w 4325914"/>
              <a:gd name="connsiteY1" fmla="*/ 0 h 438150"/>
              <a:gd name="connsiteX2" fmla="*/ 4325914 w 4325914"/>
              <a:gd name="connsiteY2" fmla="*/ 424502 h 438150"/>
              <a:gd name="connsiteX3" fmla="*/ 0 w 4325914"/>
              <a:gd name="connsiteY3" fmla="*/ 438150 h 438150"/>
              <a:gd name="connsiteX4" fmla="*/ 117143 w 4325914"/>
              <a:gd name="connsiteY4" fmla="*/ 0 h 438150"/>
              <a:gd name="connsiteX0" fmla="*/ 117143 w 4325913"/>
              <a:gd name="connsiteY0" fmla="*/ 0 h 438409"/>
              <a:gd name="connsiteX1" fmla="*/ 4325913 w 4325913"/>
              <a:gd name="connsiteY1" fmla="*/ 0 h 438409"/>
              <a:gd name="connsiteX2" fmla="*/ 4318960 w 4325913"/>
              <a:gd name="connsiteY2" fmla="*/ 438409 h 438409"/>
              <a:gd name="connsiteX3" fmla="*/ 0 w 4325913"/>
              <a:gd name="connsiteY3" fmla="*/ 438150 h 438409"/>
              <a:gd name="connsiteX4" fmla="*/ 117143 w 4325913"/>
              <a:gd name="connsiteY4" fmla="*/ 0 h 438409"/>
              <a:gd name="connsiteX0" fmla="*/ 154850 w 4325913"/>
              <a:gd name="connsiteY0" fmla="*/ 9427 h 438409"/>
              <a:gd name="connsiteX1" fmla="*/ 4325913 w 4325913"/>
              <a:gd name="connsiteY1" fmla="*/ 0 h 438409"/>
              <a:gd name="connsiteX2" fmla="*/ 4318960 w 4325913"/>
              <a:gd name="connsiteY2" fmla="*/ 438409 h 438409"/>
              <a:gd name="connsiteX3" fmla="*/ 0 w 4325913"/>
              <a:gd name="connsiteY3" fmla="*/ 438150 h 438409"/>
              <a:gd name="connsiteX4" fmla="*/ 154850 w 4325913"/>
              <a:gd name="connsiteY4" fmla="*/ 9427 h 438409"/>
              <a:gd name="connsiteX0" fmla="*/ 117143 w 4288206"/>
              <a:gd name="connsiteY0" fmla="*/ 9427 h 438409"/>
              <a:gd name="connsiteX1" fmla="*/ 4288206 w 4288206"/>
              <a:gd name="connsiteY1" fmla="*/ 0 h 438409"/>
              <a:gd name="connsiteX2" fmla="*/ 4281253 w 4288206"/>
              <a:gd name="connsiteY2" fmla="*/ 438409 h 438409"/>
              <a:gd name="connsiteX3" fmla="*/ 0 w 4288206"/>
              <a:gd name="connsiteY3" fmla="*/ 428723 h 438409"/>
              <a:gd name="connsiteX4" fmla="*/ 117143 w 4288206"/>
              <a:gd name="connsiteY4" fmla="*/ 9427 h 438409"/>
              <a:gd name="connsiteX0" fmla="*/ 126570 w 4288206"/>
              <a:gd name="connsiteY0" fmla="*/ 0 h 438409"/>
              <a:gd name="connsiteX1" fmla="*/ 4288206 w 4288206"/>
              <a:gd name="connsiteY1" fmla="*/ 0 h 438409"/>
              <a:gd name="connsiteX2" fmla="*/ 4281253 w 4288206"/>
              <a:gd name="connsiteY2" fmla="*/ 438409 h 438409"/>
              <a:gd name="connsiteX3" fmla="*/ 0 w 4288206"/>
              <a:gd name="connsiteY3" fmla="*/ 428723 h 438409"/>
              <a:gd name="connsiteX4" fmla="*/ 126570 w 4288206"/>
              <a:gd name="connsiteY4" fmla="*/ 0 h 438409"/>
              <a:gd name="connsiteX0" fmla="*/ 107716 w 4269352"/>
              <a:gd name="connsiteY0" fmla="*/ 0 h 438409"/>
              <a:gd name="connsiteX1" fmla="*/ 4269352 w 4269352"/>
              <a:gd name="connsiteY1" fmla="*/ 0 h 438409"/>
              <a:gd name="connsiteX2" fmla="*/ 4262399 w 4269352"/>
              <a:gd name="connsiteY2" fmla="*/ 438409 h 438409"/>
              <a:gd name="connsiteX3" fmla="*/ 0 w 4269352"/>
              <a:gd name="connsiteY3" fmla="*/ 428723 h 438409"/>
              <a:gd name="connsiteX4" fmla="*/ 107716 w 4269352"/>
              <a:gd name="connsiteY4" fmla="*/ 0 h 438409"/>
              <a:gd name="connsiteX0" fmla="*/ 126569 w 4288205"/>
              <a:gd name="connsiteY0" fmla="*/ 0 h 438409"/>
              <a:gd name="connsiteX1" fmla="*/ 4288205 w 4288205"/>
              <a:gd name="connsiteY1" fmla="*/ 0 h 438409"/>
              <a:gd name="connsiteX2" fmla="*/ 4281252 w 4288205"/>
              <a:gd name="connsiteY2" fmla="*/ 438409 h 438409"/>
              <a:gd name="connsiteX3" fmla="*/ 0 w 4288205"/>
              <a:gd name="connsiteY3" fmla="*/ 428723 h 438409"/>
              <a:gd name="connsiteX4" fmla="*/ 126569 w 4288205"/>
              <a:gd name="connsiteY4" fmla="*/ 0 h 438409"/>
              <a:gd name="connsiteX0" fmla="*/ 126569 w 4288205"/>
              <a:gd name="connsiteY0" fmla="*/ 0 h 438409"/>
              <a:gd name="connsiteX1" fmla="*/ 4288205 w 4288205"/>
              <a:gd name="connsiteY1" fmla="*/ 0 h 438409"/>
              <a:gd name="connsiteX2" fmla="*/ 4281252 w 4288205"/>
              <a:gd name="connsiteY2" fmla="*/ 438409 h 438409"/>
              <a:gd name="connsiteX3" fmla="*/ 0 w 4288205"/>
              <a:gd name="connsiteY3" fmla="*/ 428723 h 438409"/>
              <a:gd name="connsiteX4" fmla="*/ 126569 w 4288205"/>
              <a:gd name="connsiteY4" fmla="*/ 0 h 438409"/>
              <a:gd name="connsiteX0" fmla="*/ 135995 w 4297631"/>
              <a:gd name="connsiteY0" fmla="*/ 0 h 438409"/>
              <a:gd name="connsiteX1" fmla="*/ 4297631 w 4297631"/>
              <a:gd name="connsiteY1" fmla="*/ 0 h 438409"/>
              <a:gd name="connsiteX2" fmla="*/ 4290678 w 4297631"/>
              <a:gd name="connsiteY2" fmla="*/ 438409 h 438409"/>
              <a:gd name="connsiteX3" fmla="*/ 0 w 4297631"/>
              <a:gd name="connsiteY3" fmla="*/ 438150 h 438409"/>
              <a:gd name="connsiteX4" fmla="*/ 135995 w 4297631"/>
              <a:gd name="connsiteY4" fmla="*/ 0 h 438409"/>
              <a:gd name="connsiteX0" fmla="*/ 135995 w 4309531"/>
              <a:gd name="connsiteY0" fmla="*/ 0 h 438150"/>
              <a:gd name="connsiteX1" fmla="*/ 4297631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16484"/>
              <a:gd name="connsiteY0" fmla="*/ 0 h 438150"/>
              <a:gd name="connsiteX1" fmla="*/ 4316484 w 4316484"/>
              <a:gd name="connsiteY1" fmla="*/ 0 h 438150"/>
              <a:gd name="connsiteX2" fmla="*/ 4309531 w 4316484"/>
              <a:gd name="connsiteY2" fmla="*/ 428983 h 438150"/>
              <a:gd name="connsiteX3" fmla="*/ 0 w 4316484"/>
              <a:gd name="connsiteY3" fmla="*/ 438150 h 438150"/>
              <a:gd name="connsiteX4" fmla="*/ 135995 w 4316484"/>
              <a:gd name="connsiteY4" fmla="*/ 0 h 438150"/>
              <a:gd name="connsiteX0" fmla="*/ 135995 w 4309531"/>
              <a:gd name="connsiteY0" fmla="*/ 0 h 438150"/>
              <a:gd name="connsiteX1" fmla="*/ 4307057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09531"/>
              <a:gd name="connsiteY0" fmla="*/ 0 h 438150"/>
              <a:gd name="connsiteX1" fmla="*/ 4307057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07057"/>
              <a:gd name="connsiteY0" fmla="*/ 0 h 438410"/>
              <a:gd name="connsiteX1" fmla="*/ 4307057 w 4307057"/>
              <a:gd name="connsiteY1" fmla="*/ 0 h 438410"/>
              <a:gd name="connsiteX2" fmla="*/ 4300104 w 4307057"/>
              <a:gd name="connsiteY2" fmla="*/ 438410 h 438410"/>
              <a:gd name="connsiteX3" fmla="*/ 0 w 4307057"/>
              <a:gd name="connsiteY3" fmla="*/ 438150 h 438410"/>
              <a:gd name="connsiteX4" fmla="*/ 135995 w 4307057"/>
              <a:gd name="connsiteY4" fmla="*/ 0 h 438410"/>
              <a:gd name="connsiteX0" fmla="*/ 135995 w 4300104"/>
              <a:gd name="connsiteY0" fmla="*/ 0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135995 w 4300104"/>
              <a:gd name="connsiteY4" fmla="*/ 0 h 438410"/>
              <a:gd name="connsiteX0" fmla="*/ 88861 w 4300104"/>
              <a:gd name="connsiteY0" fmla="*/ 9427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88861 w 4300104"/>
              <a:gd name="connsiteY4" fmla="*/ 9427 h 438410"/>
              <a:gd name="connsiteX0" fmla="*/ 88861 w 4300104"/>
              <a:gd name="connsiteY0" fmla="*/ 9427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88861 w 4300104"/>
              <a:gd name="connsiteY4" fmla="*/ 9427 h 438410"/>
              <a:gd name="connsiteX0" fmla="*/ 98288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98288 w 4309531"/>
              <a:gd name="connsiteY4" fmla="*/ 9427 h 438410"/>
              <a:gd name="connsiteX0" fmla="*/ 98288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98288 w 4309531"/>
              <a:gd name="connsiteY4" fmla="*/ 9427 h 438410"/>
              <a:gd name="connsiteX0" fmla="*/ 79434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9427 h 438410"/>
              <a:gd name="connsiteX0" fmla="*/ 79434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9427 h 438410"/>
              <a:gd name="connsiteX0" fmla="*/ 79434 w 4309531"/>
              <a:gd name="connsiteY0" fmla="*/ 4832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4832 h 438410"/>
              <a:gd name="connsiteX0" fmla="*/ 88624 w 4309531"/>
              <a:gd name="connsiteY0" fmla="*/ 4832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88624 w 4309531"/>
              <a:gd name="connsiteY4" fmla="*/ 4832 h 438410"/>
              <a:gd name="connsiteX0" fmla="*/ 74839 w 4309531"/>
              <a:gd name="connsiteY0" fmla="*/ 23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4839 w 4309531"/>
              <a:gd name="connsiteY4" fmla="*/ 237 h 438410"/>
              <a:gd name="connsiteX0" fmla="*/ 103120 w 4337812"/>
              <a:gd name="connsiteY0" fmla="*/ 237 h 438410"/>
              <a:gd name="connsiteX1" fmla="*/ 4335712 w 4337812"/>
              <a:gd name="connsiteY1" fmla="*/ 0 h 438410"/>
              <a:gd name="connsiteX2" fmla="*/ 4337812 w 4337812"/>
              <a:gd name="connsiteY2" fmla="*/ 438410 h 438410"/>
              <a:gd name="connsiteX3" fmla="*/ 0 w 4337812"/>
              <a:gd name="connsiteY3" fmla="*/ 428723 h 438410"/>
              <a:gd name="connsiteX4" fmla="*/ 103120 w 4337812"/>
              <a:gd name="connsiteY4" fmla="*/ 237 h 438410"/>
              <a:gd name="connsiteX0" fmla="*/ 103120 w 4337812"/>
              <a:gd name="connsiteY0" fmla="*/ 237 h 447577"/>
              <a:gd name="connsiteX1" fmla="*/ 4335712 w 4337812"/>
              <a:gd name="connsiteY1" fmla="*/ 0 h 447577"/>
              <a:gd name="connsiteX2" fmla="*/ 4337812 w 4337812"/>
              <a:gd name="connsiteY2" fmla="*/ 438410 h 447577"/>
              <a:gd name="connsiteX3" fmla="*/ 0 w 4337812"/>
              <a:gd name="connsiteY3" fmla="*/ 447577 h 447577"/>
              <a:gd name="connsiteX4" fmla="*/ 103120 w 4337812"/>
              <a:gd name="connsiteY4" fmla="*/ 237 h 447577"/>
              <a:gd name="connsiteX0" fmla="*/ 103120 w 4337812"/>
              <a:gd name="connsiteY0" fmla="*/ 237 h 447577"/>
              <a:gd name="connsiteX1" fmla="*/ 4335712 w 4337812"/>
              <a:gd name="connsiteY1" fmla="*/ 0 h 447577"/>
              <a:gd name="connsiteX2" fmla="*/ 4337812 w 4337812"/>
              <a:gd name="connsiteY2" fmla="*/ 438410 h 447577"/>
              <a:gd name="connsiteX3" fmla="*/ 0 w 4337812"/>
              <a:gd name="connsiteY3" fmla="*/ 447577 h 447577"/>
              <a:gd name="connsiteX4" fmla="*/ 103120 w 4337812"/>
              <a:gd name="connsiteY4" fmla="*/ 237 h 447577"/>
              <a:gd name="connsiteX0" fmla="*/ 103120 w 4337812"/>
              <a:gd name="connsiteY0" fmla="*/ 237 h 438410"/>
              <a:gd name="connsiteX1" fmla="*/ 4335712 w 4337812"/>
              <a:gd name="connsiteY1" fmla="*/ 0 h 438410"/>
              <a:gd name="connsiteX2" fmla="*/ 4337812 w 4337812"/>
              <a:gd name="connsiteY2" fmla="*/ 438410 h 438410"/>
              <a:gd name="connsiteX3" fmla="*/ 0 w 4337812"/>
              <a:gd name="connsiteY3" fmla="*/ 438150 h 438410"/>
              <a:gd name="connsiteX4" fmla="*/ 103120 w 4337812"/>
              <a:gd name="connsiteY4" fmla="*/ 237 h 438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37812" h="438410">
                <a:moveTo>
                  <a:pt x="103120" y="237"/>
                </a:moveTo>
                <a:lnTo>
                  <a:pt x="4335712" y="0"/>
                </a:lnTo>
                <a:cubicBezTo>
                  <a:pt x="4335712" y="146050"/>
                  <a:pt x="4337812" y="292360"/>
                  <a:pt x="4337812" y="438410"/>
                </a:cubicBezTo>
                <a:lnTo>
                  <a:pt x="0" y="438150"/>
                </a:lnTo>
                <a:lnTo>
                  <a:pt x="103120" y="237"/>
                </a:lnTo>
                <a:close/>
              </a:path>
            </a:pathLst>
          </a:custGeom>
          <a:solidFill>
            <a:srgbClr val="3D49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chemeClr val="bg1"/>
                </a:solidFill>
                <a:latin typeface="PT Sans Narrow" panose="020B0604020202020204" charset="-52"/>
              </a:rPr>
              <a:t>SMART LOGISTICS PROJECT</a:t>
            </a:r>
            <a:endParaRPr lang="ru-RU" sz="1600" b="1" dirty="0">
              <a:solidFill>
                <a:schemeClr val="bg1"/>
              </a:solidFill>
              <a:latin typeface="PT Sans Narrow" panose="020B0604020202020204" charset="-52"/>
            </a:endParaRPr>
          </a:p>
        </p:txBody>
      </p:sp>
      <p:sp>
        <p:nvSpPr>
          <p:cNvPr id="12" name="Полилиния 11"/>
          <p:cNvSpPr/>
          <p:nvPr/>
        </p:nvSpPr>
        <p:spPr>
          <a:xfrm>
            <a:off x="659" y="331336"/>
            <a:ext cx="695325" cy="2776047"/>
          </a:xfrm>
          <a:custGeom>
            <a:avLst/>
            <a:gdLst>
              <a:gd name="connsiteX0" fmla="*/ 0 w 657225"/>
              <a:gd name="connsiteY0" fmla="*/ 0 h 2162175"/>
              <a:gd name="connsiteX1" fmla="*/ 657225 w 657225"/>
              <a:gd name="connsiteY1" fmla="*/ 9525 h 2162175"/>
              <a:gd name="connsiteX2" fmla="*/ 19050 w 657225"/>
              <a:gd name="connsiteY2" fmla="*/ 2162175 h 2162175"/>
              <a:gd name="connsiteX3" fmla="*/ 0 w 657225"/>
              <a:gd name="connsiteY3" fmla="*/ 0 h 2162175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52992"/>
              <a:gd name="connsiteX1" fmla="*/ 657225 w 657225"/>
              <a:gd name="connsiteY1" fmla="*/ 9525 h 2152992"/>
              <a:gd name="connsiteX2" fmla="*/ 0 w 657225"/>
              <a:gd name="connsiteY2" fmla="*/ 2152992 h 2152992"/>
              <a:gd name="connsiteX3" fmla="*/ 0 w 657225"/>
              <a:gd name="connsiteY3" fmla="*/ 0 h 2152992"/>
              <a:gd name="connsiteX0" fmla="*/ 0 w 657225"/>
              <a:gd name="connsiteY0" fmla="*/ 17738 h 2170730"/>
              <a:gd name="connsiteX1" fmla="*/ 657225 w 657225"/>
              <a:gd name="connsiteY1" fmla="*/ 0 h 2170730"/>
              <a:gd name="connsiteX2" fmla="*/ 0 w 657225"/>
              <a:gd name="connsiteY2" fmla="*/ 2170730 h 2170730"/>
              <a:gd name="connsiteX3" fmla="*/ 0 w 657225"/>
              <a:gd name="connsiteY3" fmla="*/ 17738 h 2170730"/>
              <a:gd name="connsiteX0" fmla="*/ 0 w 657225"/>
              <a:gd name="connsiteY0" fmla="*/ 0 h 2171168"/>
              <a:gd name="connsiteX1" fmla="*/ 657225 w 657225"/>
              <a:gd name="connsiteY1" fmla="*/ 438 h 2171168"/>
              <a:gd name="connsiteX2" fmla="*/ 0 w 657225"/>
              <a:gd name="connsiteY2" fmla="*/ 2171168 h 2171168"/>
              <a:gd name="connsiteX3" fmla="*/ 0 w 657225"/>
              <a:gd name="connsiteY3" fmla="*/ 0 h 2171168"/>
              <a:gd name="connsiteX0" fmla="*/ 0 w 695325"/>
              <a:gd name="connsiteY0" fmla="*/ 0 h 2171168"/>
              <a:gd name="connsiteX1" fmla="*/ 695325 w 695325"/>
              <a:gd name="connsiteY1" fmla="*/ 438 h 2171168"/>
              <a:gd name="connsiteX2" fmla="*/ 0 w 695325"/>
              <a:gd name="connsiteY2" fmla="*/ 2171168 h 2171168"/>
              <a:gd name="connsiteX3" fmla="*/ 0 w 695325"/>
              <a:gd name="connsiteY3" fmla="*/ 0 h 2171168"/>
              <a:gd name="connsiteX0" fmla="*/ 9525 w 704850"/>
              <a:gd name="connsiteY0" fmla="*/ 0 h 2676201"/>
              <a:gd name="connsiteX1" fmla="*/ 704850 w 704850"/>
              <a:gd name="connsiteY1" fmla="*/ 438 h 2676201"/>
              <a:gd name="connsiteX2" fmla="*/ 0 w 704850"/>
              <a:gd name="connsiteY2" fmla="*/ 2676201 h 2676201"/>
              <a:gd name="connsiteX3" fmla="*/ 9525 w 704850"/>
              <a:gd name="connsiteY3" fmla="*/ 0 h 2676201"/>
              <a:gd name="connsiteX0" fmla="*/ 0 w 695325"/>
              <a:gd name="connsiteY0" fmla="*/ 0 h 2667019"/>
              <a:gd name="connsiteX1" fmla="*/ 695325 w 695325"/>
              <a:gd name="connsiteY1" fmla="*/ 438 h 2667019"/>
              <a:gd name="connsiteX2" fmla="*/ 9525 w 695325"/>
              <a:gd name="connsiteY2" fmla="*/ 2667019 h 2667019"/>
              <a:gd name="connsiteX3" fmla="*/ 0 w 695325"/>
              <a:gd name="connsiteY3" fmla="*/ 0 h 2667019"/>
              <a:gd name="connsiteX0" fmla="*/ 0 w 695325"/>
              <a:gd name="connsiteY0" fmla="*/ 0 h 2667019"/>
              <a:gd name="connsiteX1" fmla="*/ 695325 w 695325"/>
              <a:gd name="connsiteY1" fmla="*/ 438 h 2667019"/>
              <a:gd name="connsiteX2" fmla="*/ 9525 w 695325"/>
              <a:gd name="connsiteY2" fmla="*/ 2667019 h 2667019"/>
              <a:gd name="connsiteX3" fmla="*/ 0 w 695325"/>
              <a:gd name="connsiteY3" fmla="*/ 0 h 2667019"/>
              <a:gd name="connsiteX0" fmla="*/ 0 w 695325"/>
              <a:gd name="connsiteY0" fmla="*/ 0 h 2676201"/>
              <a:gd name="connsiteX1" fmla="*/ 695325 w 695325"/>
              <a:gd name="connsiteY1" fmla="*/ 438 h 2676201"/>
              <a:gd name="connsiteX2" fmla="*/ 0 w 695325"/>
              <a:gd name="connsiteY2" fmla="*/ 2676201 h 2676201"/>
              <a:gd name="connsiteX3" fmla="*/ 0 w 695325"/>
              <a:gd name="connsiteY3" fmla="*/ 0 h 2676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325" h="2676201">
                <a:moveTo>
                  <a:pt x="0" y="0"/>
                </a:moveTo>
                <a:lnTo>
                  <a:pt x="695325" y="438"/>
                </a:lnTo>
                <a:lnTo>
                  <a:pt x="0" y="2676201"/>
                </a:lnTo>
                <a:lnTo>
                  <a:pt x="0" y="0"/>
                </a:lnTo>
                <a:close/>
              </a:path>
            </a:pathLst>
          </a:custGeom>
          <a:solidFill>
            <a:srgbClr val="9829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Полилиния 12"/>
          <p:cNvSpPr/>
          <p:nvPr/>
        </p:nvSpPr>
        <p:spPr>
          <a:xfrm>
            <a:off x="0" y="0"/>
            <a:ext cx="428625" cy="1743075"/>
          </a:xfrm>
          <a:custGeom>
            <a:avLst/>
            <a:gdLst>
              <a:gd name="connsiteX0" fmla="*/ 0 w 447675"/>
              <a:gd name="connsiteY0" fmla="*/ 0 h 1447800"/>
              <a:gd name="connsiteX1" fmla="*/ 447675 w 447675"/>
              <a:gd name="connsiteY1" fmla="*/ 0 h 1447800"/>
              <a:gd name="connsiteX2" fmla="*/ 19050 w 447675"/>
              <a:gd name="connsiteY2" fmla="*/ 1447800 h 1447800"/>
              <a:gd name="connsiteX3" fmla="*/ 0 w 447675"/>
              <a:gd name="connsiteY3" fmla="*/ 0 h 1447800"/>
              <a:gd name="connsiteX0" fmla="*/ 0 w 447675"/>
              <a:gd name="connsiteY0" fmla="*/ 0 h 1476375"/>
              <a:gd name="connsiteX1" fmla="*/ 447675 w 447675"/>
              <a:gd name="connsiteY1" fmla="*/ 0 h 1476375"/>
              <a:gd name="connsiteX2" fmla="*/ 9525 w 447675"/>
              <a:gd name="connsiteY2" fmla="*/ 1476375 h 1476375"/>
              <a:gd name="connsiteX3" fmla="*/ 0 w 447675"/>
              <a:gd name="connsiteY3" fmla="*/ 0 h 1476375"/>
              <a:gd name="connsiteX0" fmla="*/ 0 w 438150"/>
              <a:gd name="connsiteY0" fmla="*/ 28575 h 1476375"/>
              <a:gd name="connsiteX1" fmla="*/ 438150 w 438150"/>
              <a:gd name="connsiteY1" fmla="*/ 0 h 1476375"/>
              <a:gd name="connsiteX2" fmla="*/ 0 w 438150"/>
              <a:gd name="connsiteY2" fmla="*/ 1476375 h 1476375"/>
              <a:gd name="connsiteX3" fmla="*/ 0 w 438150"/>
              <a:gd name="connsiteY3" fmla="*/ 28575 h 1476375"/>
              <a:gd name="connsiteX0" fmla="*/ 9525 w 438150"/>
              <a:gd name="connsiteY0" fmla="*/ 9525 h 1476375"/>
              <a:gd name="connsiteX1" fmla="*/ 438150 w 438150"/>
              <a:gd name="connsiteY1" fmla="*/ 0 h 1476375"/>
              <a:gd name="connsiteX2" fmla="*/ 0 w 438150"/>
              <a:gd name="connsiteY2" fmla="*/ 1476375 h 1476375"/>
              <a:gd name="connsiteX3" fmla="*/ 9525 w 438150"/>
              <a:gd name="connsiteY3" fmla="*/ 9525 h 1476375"/>
              <a:gd name="connsiteX0" fmla="*/ 0 w 428625"/>
              <a:gd name="connsiteY0" fmla="*/ 9525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0 w 428625"/>
              <a:gd name="connsiteY3" fmla="*/ 9525 h 1504950"/>
              <a:gd name="connsiteX0" fmla="*/ 19050 w 428625"/>
              <a:gd name="connsiteY0" fmla="*/ 0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19050 w 428625"/>
              <a:gd name="connsiteY3" fmla="*/ 0 h 1504950"/>
              <a:gd name="connsiteX0" fmla="*/ 0 w 428625"/>
              <a:gd name="connsiteY0" fmla="*/ 0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0 w 428625"/>
              <a:gd name="connsiteY3" fmla="*/ 0 h 1504950"/>
              <a:gd name="connsiteX0" fmla="*/ 0 w 428625"/>
              <a:gd name="connsiteY0" fmla="*/ 0 h 1581150"/>
              <a:gd name="connsiteX1" fmla="*/ 428625 w 428625"/>
              <a:gd name="connsiteY1" fmla="*/ 0 h 1581150"/>
              <a:gd name="connsiteX2" fmla="*/ 0 w 428625"/>
              <a:gd name="connsiteY2" fmla="*/ 1581150 h 1581150"/>
              <a:gd name="connsiteX3" fmla="*/ 0 w 428625"/>
              <a:gd name="connsiteY3" fmla="*/ 0 h 1581150"/>
              <a:gd name="connsiteX0" fmla="*/ 0 w 428625"/>
              <a:gd name="connsiteY0" fmla="*/ 0 h 1743075"/>
              <a:gd name="connsiteX1" fmla="*/ 428625 w 428625"/>
              <a:gd name="connsiteY1" fmla="*/ 0 h 1743075"/>
              <a:gd name="connsiteX2" fmla="*/ 0 w 428625"/>
              <a:gd name="connsiteY2" fmla="*/ 1743075 h 1743075"/>
              <a:gd name="connsiteX3" fmla="*/ 0 w 428625"/>
              <a:gd name="connsiteY3" fmla="*/ 0 h 1743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8625" h="1743075">
                <a:moveTo>
                  <a:pt x="0" y="0"/>
                </a:moveTo>
                <a:lnTo>
                  <a:pt x="428625" y="0"/>
                </a:lnTo>
                <a:lnTo>
                  <a:pt x="0" y="1743075"/>
                </a:lnTo>
                <a:lnTo>
                  <a:pt x="0" y="0"/>
                </a:lnTo>
                <a:close/>
              </a:path>
            </a:pathLst>
          </a:custGeom>
          <a:solidFill>
            <a:srgbClr val="6E6B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6A36D1AA-55A0-4C18-B6A0-CBD895DF3AAC}"/>
              </a:ext>
            </a:extLst>
          </p:cNvPr>
          <p:cNvSpPr/>
          <p:nvPr/>
        </p:nvSpPr>
        <p:spPr>
          <a:xfrm>
            <a:off x="630339" y="4329995"/>
            <a:ext cx="4565266" cy="24391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  <a:ea typeface="Tahoma" panose="020B0604030504040204" pitchFamily="34" charset="0"/>
                <a:cs typeface="Tahoma" panose="020B0604030504040204" pitchFamily="34" charset="0"/>
              </a:rPr>
              <a:t>The Aims of the Smart Logistics Project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  <a:ea typeface="Tahoma" panose="020B0604030504040204" pitchFamily="34" charset="0"/>
                <a:cs typeface="Tahoma" panose="020B0604030504040204" pitchFamily="34" charset="0"/>
              </a:rPr>
              <a:t>to form the concept of forwarding the container cargo to the special city  terminals by rail finally addressed to the customers inside the city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  <a:ea typeface="Tahoma" panose="020B0604030504040204" pitchFamily="34" charset="0"/>
                <a:cs typeface="Tahoma" panose="020B0604030504040204" pitchFamily="34" charset="0"/>
              </a:rPr>
              <a:t>to optimize the digital</a:t>
            </a: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  <a:ea typeface="Tahoma" panose="020B0604030504040204" pitchFamily="34" charset="0"/>
                <a:cs typeface="Tahoma" panose="020B0604030504040204" pitchFamily="34" charset="0"/>
              </a:rPr>
              <a:t>document circulation between freight forwarder, terminal and the Russian Railways during the process of transportation organization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  <a:ea typeface="Tahoma" panose="020B0604030504040204" pitchFamily="34" charset="0"/>
                <a:cs typeface="Tahoma" panose="020B0604030504040204" pitchFamily="34" charset="0"/>
              </a:rPr>
              <a:t>to optimize the process of exporting the containers from the Moscow terminal</a:t>
            </a: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PT Sans Narrow" panose="020B0604020202020204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2CAC6A4-7212-42D8-BBD9-92C64D097E2A}"/>
              </a:ext>
            </a:extLst>
          </p:cNvPr>
          <p:cNvSpPr txBox="1"/>
          <p:nvPr/>
        </p:nvSpPr>
        <p:spPr>
          <a:xfrm>
            <a:off x="630337" y="1623794"/>
            <a:ext cx="4565267" cy="24391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  <a:ea typeface="Tahoma" panose="020B0604030504040204" pitchFamily="34" charset="0"/>
                <a:cs typeface="Tahoma" panose="020B0604030504040204" pitchFamily="34" charset="0"/>
              </a:rPr>
              <a:t>Historical overview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  <a:ea typeface="Tahoma" panose="020B0604030504040204" pitchFamily="34" charset="0"/>
                <a:cs typeface="Tahoma" panose="020B0604030504040204" pitchFamily="34" charset="0"/>
              </a:rPr>
              <a:t>On March 9, 2016 the Russian Railways took the decision to close the freight yards inside Moscow moving the cargo work outside the city borders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  <a:ea typeface="Tahoma" panose="020B0604030504040204" pitchFamily="34" charset="0"/>
                <a:cs typeface="Tahoma" panose="020B0604030504040204" pitchFamily="34" charset="0"/>
              </a:rPr>
              <a:t>On October 2, 2018 Freight Village RU and the Russian Railways signed an agreement of cooperationship in the field of the projects “Digital container terminal” and “Smart logistics”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  <a:ea typeface="Tahoma" panose="020B0604030504040204" pitchFamily="34" charset="0"/>
                <a:cs typeface="Tahoma" panose="020B0604030504040204" pitchFamily="34" charset="0"/>
              </a:rPr>
              <a:t>On October, 18 2018  - the test freight delivery by short container train from Vorsino to the station Kuntsevo-II inside Moscow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5181715" y="2040918"/>
            <a:ext cx="6481856" cy="5281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0906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TextBox 92">
            <a:extLst>
              <a:ext uri="{FF2B5EF4-FFF2-40B4-BE49-F238E27FC236}">
                <a16:creationId xmlns:a16="http://schemas.microsoft.com/office/drawing/2014/main" id="{E8F4726F-5868-4D54-B072-5EE21BA4E1EA}"/>
              </a:ext>
            </a:extLst>
          </p:cNvPr>
          <p:cNvSpPr txBox="1"/>
          <p:nvPr/>
        </p:nvSpPr>
        <p:spPr>
          <a:xfrm>
            <a:off x="6516982" y="1242560"/>
            <a:ext cx="4355710" cy="800219"/>
          </a:xfrm>
          <a:prstGeom prst="rect">
            <a:avLst/>
          </a:prstGeom>
          <a:solidFill>
            <a:schemeClr val="bg1">
              <a:lumMod val="95000"/>
              <a:alpha val="84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pPr lvl="1"/>
            <a:r>
              <a:rPr lang="en-US" sz="1200" b="1" dirty="0">
                <a:latin typeface="PT Sans Narrow" panose="020B0506020203020204" pitchFamily="34" charset="-52"/>
                <a:ea typeface="Tahoma" panose="020B0604030504040204" pitchFamily="34" charset="0"/>
                <a:cs typeface="Tahoma" panose="020B0604030504040204" pitchFamily="34" charset="0"/>
              </a:rPr>
              <a:t>SMART TERMINAL</a:t>
            </a:r>
            <a:endParaRPr lang="ru-RU" sz="1200" b="1" dirty="0">
              <a:latin typeface="PT Sans Narrow" panose="020B0506020203020204" pitchFamily="34" charset="-52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713598" lvl="1" indent="-171450">
              <a:spcBef>
                <a:spcPts val="554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latin typeface="PT Sans Narrow" panose="020B0506020203020204" pitchFamily="34" charset="-52"/>
                <a:ea typeface="Tahoma" panose="020B0604030504040204" pitchFamily="34" charset="0"/>
                <a:cs typeface="Tahoma" panose="020B0604030504040204" pitchFamily="34" charset="0"/>
              </a:rPr>
              <a:t>Cross-docking for light-duty trucks</a:t>
            </a:r>
          </a:p>
          <a:p>
            <a:pPr marL="713598" lvl="1" indent="-171450">
              <a:spcBef>
                <a:spcPts val="554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latin typeface="PT Sans Narrow" panose="020B0506020203020204" pitchFamily="34" charset="-52"/>
                <a:ea typeface="Tahoma" panose="020B0604030504040204" pitchFamily="34" charset="0"/>
                <a:cs typeface="Tahoma" panose="020B0604030504040204" pitchFamily="34" charset="0"/>
              </a:rPr>
              <a:t>Warehousing</a:t>
            </a:r>
            <a:endParaRPr lang="ru-RU" sz="1200" dirty="0">
              <a:latin typeface="PT Sans Narrow" panose="020B0506020203020204" pitchFamily="34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67" name="Группа 66"/>
          <p:cNvGrpSpPr/>
          <p:nvPr/>
        </p:nvGrpSpPr>
        <p:grpSpPr>
          <a:xfrm>
            <a:off x="-1" y="2882"/>
            <a:ext cx="7733579" cy="7918743"/>
            <a:chOff x="-1" y="1010754"/>
            <a:chExt cx="6750637" cy="6912266"/>
          </a:xfrm>
        </p:grpSpPr>
        <p:pic>
          <p:nvPicPr>
            <p:cNvPr id="31" name="Рисунок 30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102" t="-2896" b="25309"/>
            <a:stretch/>
          </p:blipFill>
          <p:spPr>
            <a:xfrm>
              <a:off x="-1" y="1010754"/>
              <a:ext cx="6750637" cy="6912266"/>
            </a:xfrm>
            <a:prstGeom prst="rect">
              <a:avLst/>
            </a:prstGeom>
          </p:spPr>
        </p:pic>
        <p:sp>
          <p:nvSpPr>
            <p:cNvPr id="57" name="Полилиния 31">
              <a:extLst>
                <a:ext uri="{FF2B5EF4-FFF2-40B4-BE49-F238E27FC236}">
                  <a16:creationId xmlns:a16="http://schemas.microsoft.com/office/drawing/2014/main" id="{616DCF1A-3D5B-4776-BBB6-EE4D2233671D}"/>
                </a:ext>
              </a:extLst>
            </p:cNvPr>
            <p:cNvSpPr/>
            <p:nvPr/>
          </p:nvSpPr>
          <p:spPr>
            <a:xfrm>
              <a:off x="2101162" y="4542335"/>
              <a:ext cx="780006" cy="852476"/>
            </a:xfrm>
            <a:custGeom>
              <a:avLst/>
              <a:gdLst>
                <a:gd name="connsiteX0" fmla="*/ 0 w 771525"/>
                <a:gd name="connsiteY0" fmla="*/ 785813 h 785813"/>
                <a:gd name="connsiteX1" fmla="*/ 42863 w 771525"/>
                <a:gd name="connsiteY1" fmla="*/ 671513 h 785813"/>
                <a:gd name="connsiteX2" fmla="*/ 128588 w 771525"/>
                <a:gd name="connsiteY2" fmla="*/ 600075 h 785813"/>
                <a:gd name="connsiteX3" fmla="*/ 85725 w 771525"/>
                <a:gd name="connsiteY3" fmla="*/ 471488 h 785813"/>
                <a:gd name="connsiteX4" fmla="*/ 42863 w 771525"/>
                <a:gd name="connsiteY4" fmla="*/ 271463 h 785813"/>
                <a:gd name="connsiteX5" fmla="*/ 100013 w 771525"/>
                <a:gd name="connsiteY5" fmla="*/ 142875 h 785813"/>
                <a:gd name="connsiteX6" fmla="*/ 400050 w 771525"/>
                <a:gd name="connsiteY6" fmla="*/ 114300 h 785813"/>
                <a:gd name="connsiteX7" fmla="*/ 628650 w 771525"/>
                <a:gd name="connsiteY7" fmla="*/ 42863 h 785813"/>
                <a:gd name="connsiteX8" fmla="*/ 771525 w 771525"/>
                <a:gd name="connsiteY8" fmla="*/ 0 h 785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1525" h="785813">
                  <a:moveTo>
                    <a:pt x="0" y="785813"/>
                  </a:moveTo>
                  <a:cubicBezTo>
                    <a:pt x="10716" y="744141"/>
                    <a:pt x="21432" y="702469"/>
                    <a:pt x="42863" y="671513"/>
                  </a:cubicBezTo>
                  <a:cubicBezTo>
                    <a:pt x="64294" y="640557"/>
                    <a:pt x="121444" y="633412"/>
                    <a:pt x="128588" y="600075"/>
                  </a:cubicBezTo>
                  <a:cubicBezTo>
                    <a:pt x="135732" y="566738"/>
                    <a:pt x="100012" y="526257"/>
                    <a:pt x="85725" y="471488"/>
                  </a:cubicBezTo>
                  <a:cubicBezTo>
                    <a:pt x="71438" y="416719"/>
                    <a:pt x="40482" y="326232"/>
                    <a:pt x="42863" y="271463"/>
                  </a:cubicBezTo>
                  <a:cubicBezTo>
                    <a:pt x="45244" y="216694"/>
                    <a:pt x="40482" y="169069"/>
                    <a:pt x="100013" y="142875"/>
                  </a:cubicBezTo>
                  <a:cubicBezTo>
                    <a:pt x="159544" y="116681"/>
                    <a:pt x="311944" y="130969"/>
                    <a:pt x="400050" y="114300"/>
                  </a:cubicBezTo>
                  <a:cubicBezTo>
                    <a:pt x="488156" y="97631"/>
                    <a:pt x="628650" y="42863"/>
                    <a:pt x="628650" y="42863"/>
                  </a:cubicBezTo>
                  <a:lnTo>
                    <a:pt x="771525" y="0"/>
                  </a:lnTo>
                </a:path>
              </a:pathLst>
            </a:custGeom>
            <a:ln w="76200" cmpd="sng"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904" dirty="0">
                <a:latin typeface="+mj-lt"/>
              </a:endParaRPr>
            </a:p>
          </p:txBody>
        </p:sp>
        <p:cxnSp>
          <p:nvCxnSpPr>
            <p:cNvPr id="36" name="Прямая со стрелкой 35">
              <a:extLst>
                <a:ext uri="{FF2B5EF4-FFF2-40B4-BE49-F238E27FC236}">
                  <a16:creationId xmlns:a16="http://schemas.microsoft.com/office/drawing/2014/main" id="{39106EF2-8977-4386-9C6D-5C4357D300D5}"/>
                </a:ext>
              </a:extLst>
            </p:cNvPr>
            <p:cNvCxnSpPr/>
            <p:nvPr/>
          </p:nvCxnSpPr>
          <p:spPr>
            <a:xfrm>
              <a:off x="93842" y="5121782"/>
              <a:ext cx="1705115" cy="242196"/>
            </a:xfrm>
            <a:prstGeom prst="straightConnector1">
              <a:avLst/>
            </a:prstGeom>
            <a:ln w="50800">
              <a:solidFill>
                <a:srgbClr val="00906A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Прямая со стрелкой 46">
              <a:extLst>
                <a:ext uri="{FF2B5EF4-FFF2-40B4-BE49-F238E27FC236}">
                  <a16:creationId xmlns:a16="http://schemas.microsoft.com/office/drawing/2014/main" id="{39106EF2-8977-4386-9C6D-5C4357D300D5}"/>
                </a:ext>
              </a:extLst>
            </p:cNvPr>
            <p:cNvCxnSpPr/>
            <p:nvPr/>
          </p:nvCxnSpPr>
          <p:spPr>
            <a:xfrm flipV="1">
              <a:off x="990377" y="5689004"/>
              <a:ext cx="1040604" cy="1440160"/>
            </a:xfrm>
            <a:prstGeom prst="straightConnector1">
              <a:avLst/>
            </a:prstGeom>
            <a:ln w="50800">
              <a:solidFill>
                <a:srgbClr val="00906A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Полилиния 31">
              <a:extLst>
                <a:ext uri="{FF2B5EF4-FFF2-40B4-BE49-F238E27FC236}">
                  <a16:creationId xmlns:a16="http://schemas.microsoft.com/office/drawing/2014/main" id="{616DCF1A-3D5B-4776-BBB6-EE4D2233671D}"/>
                </a:ext>
              </a:extLst>
            </p:cNvPr>
            <p:cNvSpPr/>
            <p:nvPr/>
          </p:nvSpPr>
          <p:spPr>
            <a:xfrm>
              <a:off x="2104065" y="4534267"/>
              <a:ext cx="780006" cy="852476"/>
            </a:xfrm>
            <a:custGeom>
              <a:avLst/>
              <a:gdLst>
                <a:gd name="connsiteX0" fmla="*/ 0 w 771525"/>
                <a:gd name="connsiteY0" fmla="*/ 785813 h 785813"/>
                <a:gd name="connsiteX1" fmla="*/ 42863 w 771525"/>
                <a:gd name="connsiteY1" fmla="*/ 671513 h 785813"/>
                <a:gd name="connsiteX2" fmla="*/ 128588 w 771525"/>
                <a:gd name="connsiteY2" fmla="*/ 600075 h 785813"/>
                <a:gd name="connsiteX3" fmla="*/ 85725 w 771525"/>
                <a:gd name="connsiteY3" fmla="*/ 471488 h 785813"/>
                <a:gd name="connsiteX4" fmla="*/ 42863 w 771525"/>
                <a:gd name="connsiteY4" fmla="*/ 271463 h 785813"/>
                <a:gd name="connsiteX5" fmla="*/ 100013 w 771525"/>
                <a:gd name="connsiteY5" fmla="*/ 142875 h 785813"/>
                <a:gd name="connsiteX6" fmla="*/ 400050 w 771525"/>
                <a:gd name="connsiteY6" fmla="*/ 114300 h 785813"/>
                <a:gd name="connsiteX7" fmla="*/ 628650 w 771525"/>
                <a:gd name="connsiteY7" fmla="*/ 42863 h 785813"/>
                <a:gd name="connsiteX8" fmla="*/ 771525 w 771525"/>
                <a:gd name="connsiteY8" fmla="*/ 0 h 785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1525" h="785813">
                  <a:moveTo>
                    <a:pt x="0" y="785813"/>
                  </a:moveTo>
                  <a:cubicBezTo>
                    <a:pt x="10716" y="744141"/>
                    <a:pt x="21432" y="702469"/>
                    <a:pt x="42863" y="671513"/>
                  </a:cubicBezTo>
                  <a:cubicBezTo>
                    <a:pt x="64294" y="640557"/>
                    <a:pt x="121444" y="633412"/>
                    <a:pt x="128588" y="600075"/>
                  </a:cubicBezTo>
                  <a:cubicBezTo>
                    <a:pt x="135732" y="566738"/>
                    <a:pt x="100012" y="526257"/>
                    <a:pt x="85725" y="471488"/>
                  </a:cubicBezTo>
                  <a:cubicBezTo>
                    <a:pt x="71438" y="416719"/>
                    <a:pt x="40482" y="326232"/>
                    <a:pt x="42863" y="271463"/>
                  </a:cubicBezTo>
                  <a:cubicBezTo>
                    <a:pt x="45244" y="216694"/>
                    <a:pt x="40482" y="169069"/>
                    <a:pt x="100013" y="142875"/>
                  </a:cubicBezTo>
                  <a:cubicBezTo>
                    <a:pt x="159544" y="116681"/>
                    <a:pt x="311944" y="130969"/>
                    <a:pt x="400050" y="114300"/>
                  </a:cubicBezTo>
                  <a:cubicBezTo>
                    <a:pt x="488156" y="97631"/>
                    <a:pt x="628650" y="42863"/>
                    <a:pt x="628650" y="42863"/>
                  </a:cubicBezTo>
                  <a:lnTo>
                    <a:pt x="771525" y="0"/>
                  </a:lnTo>
                </a:path>
              </a:pathLst>
            </a:custGeom>
            <a:ln w="76200" cmpd="sng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904" dirty="0">
                <a:latin typeface="+mj-lt"/>
              </a:endParaRPr>
            </a:p>
          </p:txBody>
        </p:sp>
        <p:sp>
          <p:nvSpPr>
            <p:cNvPr id="21" name="Овал 20">
              <a:extLst>
                <a:ext uri="{FF2B5EF4-FFF2-40B4-BE49-F238E27FC236}">
                  <a16:creationId xmlns:a16="http://schemas.microsoft.com/office/drawing/2014/main" id="{F1285D99-0F9C-45D2-AB2A-9F7CFC83EEEB}"/>
                </a:ext>
              </a:extLst>
            </p:cNvPr>
            <p:cNvSpPr>
              <a:spLocks/>
            </p:cNvSpPr>
            <p:nvPr/>
          </p:nvSpPr>
          <p:spPr>
            <a:xfrm>
              <a:off x="2884071" y="4386724"/>
              <a:ext cx="255897" cy="255897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7" dirty="0">
                <a:latin typeface="+mj-lt"/>
              </a:endParaRPr>
            </a:p>
          </p:txBody>
        </p:sp>
        <p:cxnSp>
          <p:nvCxnSpPr>
            <p:cNvPr id="24" name="Прямая соединительная линия 23">
              <a:extLst>
                <a:ext uri="{FF2B5EF4-FFF2-40B4-BE49-F238E27FC236}">
                  <a16:creationId xmlns:a16="http://schemas.microsoft.com/office/drawing/2014/main" id="{E6E78E29-F7A1-4801-90D6-F954B7C32338}"/>
                </a:ext>
              </a:extLst>
            </p:cNvPr>
            <p:cNvCxnSpPr>
              <a:endCxn id="21" idx="1"/>
            </p:cNvCxnSpPr>
            <p:nvPr/>
          </p:nvCxnSpPr>
          <p:spPr>
            <a:xfrm>
              <a:off x="2457525" y="3277708"/>
              <a:ext cx="464021" cy="1146491"/>
            </a:xfrm>
            <a:prstGeom prst="line">
              <a:avLst/>
            </a:prstGeom>
            <a:ln>
              <a:solidFill>
                <a:srgbClr val="FF0000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Полилиния 30">
              <a:extLst>
                <a:ext uri="{FF2B5EF4-FFF2-40B4-BE49-F238E27FC236}">
                  <a16:creationId xmlns:a16="http://schemas.microsoft.com/office/drawing/2014/main" id="{EF3E6BF2-787C-425A-A50E-1C9F263B84A0}"/>
                </a:ext>
              </a:extLst>
            </p:cNvPr>
            <p:cNvSpPr/>
            <p:nvPr/>
          </p:nvSpPr>
          <p:spPr>
            <a:xfrm>
              <a:off x="3558201" y="4040329"/>
              <a:ext cx="1523457" cy="1000276"/>
            </a:xfrm>
            <a:custGeom>
              <a:avLst/>
              <a:gdLst>
                <a:gd name="connsiteX0" fmla="*/ 0 w 1240367"/>
                <a:gd name="connsiteY0" fmla="*/ 107244 h 776111"/>
                <a:gd name="connsiteX1" fmla="*/ 270933 w 1240367"/>
                <a:gd name="connsiteY1" fmla="*/ 39511 h 776111"/>
                <a:gd name="connsiteX2" fmla="*/ 872066 w 1240367"/>
                <a:gd name="connsiteY2" fmla="*/ 14111 h 776111"/>
                <a:gd name="connsiteX3" fmla="*/ 1193800 w 1240367"/>
                <a:gd name="connsiteY3" fmla="*/ 124178 h 776111"/>
                <a:gd name="connsiteX4" fmla="*/ 1151466 w 1240367"/>
                <a:gd name="connsiteY4" fmla="*/ 505178 h 776111"/>
                <a:gd name="connsiteX5" fmla="*/ 999066 w 1240367"/>
                <a:gd name="connsiteY5" fmla="*/ 776111 h 776111"/>
                <a:gd name="connsiteX0" fmla="*/ 0 w 1144264"/>
                <a:gd name="connsiteY0" fmla="*/ 4240 h 827503"/>
                <a:gd name="connsiteX1" fmla="*/ 203707 w 1144264"/>
                <a:gd name="connsiteY1" fmla="*/ 90903 h 827503"/>
                <a:gd name="connsiteX2" fmla="*/ 804840 w 1144264"/>
                <a:gd name="connsiteY2" fmla="*/ 65503 h 827503"/>
                <a:gd name="connsiteX3" fmla="*/ 1126574 w 1144264"/>
                <a:gd name="connsiteY3" fmla="*/ 175570 h 827503"/>
                <a:gd name="connsiteX4" fmla="*/ 1084240 w 1144264"/>
                <a:gd name="connsiteY4" fmla="*/ 556570 h 827503"/>
                <a:gd name="connsiteX5" fmla="*/ 931840 w 1144264"/>
                <a:gd name="connsiteY5" fmla="*/ 827503 h 827503"/>
                <a:gd name="connsiteX0" fmla="*/ 0 w 1144264"/>
                <a:gd name="connsiteY0" fmla="*/ 0 h 823263"/>
                <a:gd name="connsiteX1" fmla="*/ 804840 w 1144264"/>
                <a:gd name="connsiteY1" fmla="*/ 61263 h 823263"/>
                <a:gd name="connsiteX2" fmla="*/ 1126574 w 1144264"/>
                <a:gd name="connsiteY2" fmla="*/ 171330 h 823263"/>
                <a:gd name="connsiteX3" fmla="*/ 1084240 w 1144264"/>
                <a:gd name="connsiteY3" fmla="*/ 552330 h 823263"/>
                <a:gd name="connsiteX4" fmla="*/ 931840 w 1144264"/>
                <a:gd name="connsiteY4" fmla="*/ 823263 h 823263"/>
                <a:gd name="connsiteX0" fmla="*/ 0 w 1119818"/>
                <a:gd name="connsiteY0" fmla="*/ 0 h 844317"/>
                <a:gd name="connsiteX1" fmla="*/ 780394 w 1119818"/>
                <a:gd name="connsiteY1" fmla="*/ 82317 h 844317"/>
                <a:gd name="connsiteX2" fmla="*/ 1102128 w 1119818"/>
                <a:gd name="connsiteY2" fmla="*/ 192384 h 844317"/>
                <a:gd name="connsiteX3" fmla="*/ 1059794 w 1119818"/>
                <a:gd name="connsiteY3" fmla="*/ 573384 h 844317"/>
                <a:gd name="connsiteX4" fmla="*/ 907394 w 1119818"/>
                <a:gd name="connsiteY4" fmla="*/ 844317 h 844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9818" h="844317">
                  <a:moveTo>
                    <a:pt x="0" y="0"/>
                  </a:moveTo>
                  <a:cubicBezTo>
                    <a:pt x="167675" y="12763"/>
                    <a:pt x="596706" y="50253"/>
                    <a:pt x="780394" y="82317"/>
                  </a:cubicBezTo>
                  <a:cubicBezTo>
                    <a:pt x="964082" y="114381"/>
                    <a:pt x="1055561" y="110540"/>
                    <a:pt x="1102128" y="192384"/>
                  </a:cubicBezTo>
                  <a:cubicBezTo>
                    <a:pt x="1148695" y="274229"/>
                    <a:pt x="1092250" y="464729"/>
                    <a:pt x="1059794" y="573384"/>
                  </a:cubicBezTo>
                  <a:cubicBezTo>
                    <a:pt x="1027338" y="682040"/>
                    <a:pt x="967366" y="763178"/>
                    <a:pt x="907394" y="844317"/>
                  </a:cubicBezTo>
                </a:path>
              </a:pathLst>
            </a:custGeom>
            <a:ln w="76200" cmpd="sng"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904">
                <a:latin typeface="+mj-lt"/>
              </a:endParaRPr>
            </a:p>
          </p:txBody>
        </p:sp>
        <p:sp>
          <p:nvSpPr>
            <p:cNvPr id="30" name="Полилиния 30">
              <a:extLst>
                <a:ext uri="{FF2B5EF4-FFF2-40B4-BE49-F238E27FC236}">
                  <a16:creationId xmlns:a16="http://schemas.microsoft.com/office/drawing/2014/main" id="{EF3E6BF2-787C-425A-A50E-1C9F263B84A0}"/>
                </a:ext>
              </a:extLst>
            </p:cNvPr>
            <p:cNvSpPr/>
            <p:nvPr/>
          </p:nvSpPr>
          <p:spPr>
            <a:xfrm>
              <a:off x="3574728" y="4038537"/>
              <a:ext cx="1506827" cy="1000275"/>
            </a:xfrm>
            <a:custGeom>
              <a:avLst/>
              <a:gdLst>
                <a:gd name="connsiteX0" fmla="*/ 0 w 1240367"/>
                <a:gd name="connsiteY0" fmla="*/ 107244 h 776111"/>
                <a:gd name="connsiteX1" fmla="*/ 270933 w 1240367"/>
                <a:gd name="connsiteY1" fmla="*/ 39511 h 776111"/>
                <a:gd name="connsiteX2" fmla="*/ 872066 w 1240367"/>
                <a:gd name="connsiteY2" fmla="*/ 14111 h 776111"/>
                <a:gd name="connsiteX3" fmla="*/ 1193800 w 1240367"/>
                <a:gd name="connsiteY3" fmla="*/ 124178 h 776111"/>
                <a:gd name="connsiteX4" fmla="*/ 1151466 w 1240367"/>
                <a:gd name="connsiteY4" fmla="*/ 505178 h 776111"/>
                <a:gd name="connsiteX5" fmla="*/ 999066 w 1240367"/>
                <a:gd name="connsiteY5" fmla="*/ 776111 h 776111"/>
                <a:gd name="connsiteX0" fmla="*/ 0 w 1107595"/>
                <a:gd name="connsiteY0" fmla="*/ 3700 h 848017"/>
                <a:gd name="connsiteX1" fmla="*/ 167038 w 1107595"/>
                <a:gd name="connsiteY1" fmla="*/ 111417 h 848017"/>
                <a:gd name="connsiteX2" fmla="*/ 768171 w 1107595"/>
                <a:gd name="connsiteY2" fmla="*/ 86017 h 848017"/>
                <a:gd name="connsiteX3" fmla="*/ 1089905 w 1107595"/>
                <a:gd name="connsiteY3" fmla="*/ 196084 h 848017"/>
                <a:gd name="connsiteX4" fmla="*/ 1047571 w 1107595"/>
                <a:gd name="connsiteY4" fmla="*/ 577084 h 848017"/>
                <a:gd name="connsiteX5" fmla="*/ 895171 w 1107595"/>
                <a:gd name="connsiteY5" fmla="*/ 848017 h 848017"/>
                <a:gd name="connsiteX0" fmla="*/ 0 w 1107595"/>
                <a:gd name="connsiteY0" fmla="*/ 0 h 844317"/>
                <a:gd name="connsiteX1" fmla="*/ 768171 w 1107595"/>
                <a:gd name="connsiteY1" fmla="*/ 82317 h 844317"/>
                <a:gd name="connsiteX2" fmla="*/ 1089905 w 1107595"/>
                <a:gd name="connsiteY2" fmla="*/ 192384 h 844317"/>
                <a:gd name="connsiteX3" fmla="*/ 1047571 w 1107595"/>
                <a:gd name="connsiteY3" fmla="*/ 573384 h 844317"/>
                <a:gd name="connsiteX4" fmla="*/ 895171 w 1107595"/>
                <a:gd name="connsiteY4" fmla="*/ 844317 h 844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7595" h="844317">
                  <a:moveTo>
                    <a:pt x="0" y="0"/>
                  </a:moveTo>
                  <a:cubicBezTo>
                    <a:pt x="160036" y="17150"/>
                    <a:pt x="586520" y="50253"/>
                    <a:pt x="768171" y="82317"/>
                  </a:cubicBezTo>
                  <a:cubicBezTo>
                    <a:pt x="949822" y="114381"/>
                    <a:pt x="1043338" y="110540"/>
                    <a:pt x="1089905" y="192384"/>
                  </a:cubicBezTo>
                  <a:cubicBezTo>
                    <a:pt x="1136472" y="274229"/>
                    <a:pt x="1080027" y="464729"/>
                    <a:pt x="1047571" y="573384"/>
                  </a:cubicBezTo>
                  <a:cubicBezTo>
                    <a:pt x="1015115" y="682040"/>
                    <a:pt x="955143" y="763178"/>
                    <a:pt x="895171" y="844317"/>
                  </a:cubicBezTo>
                </a:path>
              </a:pathLst>
            </a:custGeom>
            <a:ln w="76200" cmpd="sng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904">
                <a:latin typeface="+mj-lt"/>
              </a:endParaRPr>
            </a:p>
          </p:txBody>
        </p:sp>
        <p:sp>
          <p:nvSpPr>
            <p:cNvPr id="28" name="Овал 27">
              <a:extLst>
                <a:ext uri="{FF2B5EF4-FFF2-40B4-BE49-F238E27FC236}">
                  <a16:creationId xmlns:a16="http://schemas.microsoft.com/office/drawing/2014/main" id="{2B4D0BA6-B4CF-4D6F-94AF-F2D1C8FEC509}"/>
                </a:ext>
              </a:extLst>
            </p:cNvPr>
            <p:cNvSpPr/>
            <p:nvPr/>
          </p:nvSpPr>
          <p:spPr>
            <a:xfrm>
              <a:off x="4504937" y="4983886"/>
              <a:ext cx="341196" cy="341236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98292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7" dirty="0">
                <a:latin typeface="+mj-lt"/>
              </a:endParaRPr>
            </a:p>
          </p:txBody>
        </p:sp>
        <p:sp>
          <p:nvSpPr>
            <p:cNvPr id="62" name="Полилиния 24">
              <a:extLst>
                <a:ext uri="{FF2B5EF4-FFF2-40B4-BE49-F238E27FC236}">
                  <a16:creationId xmlns:a16="http://schemas.microsoft.com/office/drawing/2014/main" id="{C8902407-93E1-4FF2-855E-79473396C653}"/>
                </a:ext>
              </a:extLst>
            </p:cNvPr>
            <p:cNvSpPr/>
            <p:nvPr/>
          </p:nvSpPr>
          <p:spPr>
            <a:xfrm>
              <a:off x="3146600" y="3415522"/>
              <a:ext cx="297692" cy="570789"/>
            </a:xfrm>
            <a:custGeom>
              <a:avLst/>
              <a:gdLst>
                <a:gd name="connsiteX0" fmla="*/ 0 w 237067"/>
                <a:gd name="connsiteY0" fmla="*/ 0 h 770466"/>
                <a:gd name="connsiteX1" fmla="*/ 8467 w 237067"/>
                <a:gd name="connsiteY1" fmla="*/ 245533 h 770466"/>
                <a:gd name="connsiteX2" fmla="*/ 50800 w 237067"/>
                <a:gd name="connsiteY2" fmla="*/ 440266 h 770466"/>
                <a:gd name="connsiteX3" fmla="*/ 93134 w 237067"/>
                <a:gd name="connsiteY3" fmla="*/ 618066 h 770466"/>
                <a:gd name="connsiteX4" fmla="*/ 237067 w 237067"/>
                <a:gd name="connsiteY4" fmla="*/ 770466 h 770466"/>
                <a:gd name="connsiteX0" fmla="*/ 0 w 508619"/>
                <a:gd name="connsiteY0" fmla="*/ 0 h 640613"/>
                <a:gd name="connsiteX1" fmla="*/ 8467 w 508619"/>
                <a:gd name="connsiteY1" fmla="*/ 245533 h 640613"/>
                <a:gd name="connsiteX2" fmla="*/ 50800 w 508619"/>
                <a:gd name="connsiteY2" fmla="*/ 440266 h 640613"/>
                <a:gd name="connsiteX3" fmla="*/ 93134 w 508619"/>
                <a:gd name="connsiteY3" fmla="*/ 618066 h 640613"/>
                <a:gd name="connsiteX4" fmla="*/ 508619 w 508619"/>
                <a:gd name="connsiteY4" fmla="*/ 624839 h 640613"/>
                <a:gd name="connsiteX0" fmla="*/ 0 w 508619"/>
                <a:gd name="connsiteY0" fmla="*/ 0 h 624839"/>
                <a:gd name="connsiteX1" fmla="*/ 8467 w 508619"/>
                <a:gd name="connsiteY1" fmla="*/ 245533 h 624839"/>
                <a:gd name="connsiteX2" fmla="*/ 50800 w 508619"/>
                <a:gd name="connsiteY2" fmla="*/ 440266 h 624839"/>
                <a:gd name="connsiteX3" fmla="*/ 508619 w 508619"/>
                <a:gd name="connsiteY3" fmla="*/ 624839 h 624839"/>
                <a:gd name="connsiteX0" fmla="*/ 31536 w 540155"/>
                <a:gd name="connsiteY0" fmla="*/ 0 h 624839"/>
                <a:gd name="connsiteX1" fmla="*/ 40003 w 540155"/>
                <a:gd name="connsiteY1" fmla="*/ 245533 h 624839"/>
                <a:gd name="connsiteX2" fmla="*/ 540155 w 540155"/>
                <a:gd name="connsiteY2" fmla="*/ 624839 h 624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0155" h="624839">
                  <a:moveTo>
                    <a:pt x="31536" y="0"/>
                  </a:moveTo>
                  <a:cubicBezTo>
                    <a:pt x="31536" y="86077"/>
                    <a:pt x="-44767" y="141393"/>
                    <a:pt x="40003" y="245533"/>
                  </a:cubicBezTo>
                  <a:cubicBezTo>
                    <a:pt x="124773" y="349673"/>
                    <a:pt x="435957" y="545817"/>
                    <a:pt x="540155" y="624839"/>
                  </a:cubicBezTo>
                </a:path>
              </a:pathLst>
            </a:custGeom>
            <a:ln w="76200" cmpd="sng"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904">
                <a:latin typeface="+mj-lt"/>
              </a:endParaRPr>
            </a:p>
          </p:txBody>
        </p:sp>
        <p:sp>
          <p:nvSpPr>
            <p:cNvPr id="26" name="Полилиния 24">
              <a:extLst>
                <a:ext uri="{FF2B5EF4-FFF2-40B4-BE49-F238E27FC236}">
                  <a16:creationId xmlns:a16="http://schemas.microsoft.com/office/drawing/2014/main" id="{C8902407-93E1-4FF2-855E-79473396C653}"/>
                </a:ext>
              </a:extLst>
            </p:cNvPr>
            <p:cNvSpPr/>
            <p:nvPr/>
          </p:nvSpPr>
          <p:spPr>
            <a:xfrm>
              <a:off x="3166219" y="3423887"/>
              <a:ext cx="244127" cy="570789"/>
            </a:xfrm>
            <a:custGeom>
              <a:avLst/>
              <a:gdLst>
                <a:gd name="connsiteX0" fmla="*/ 0 w 237067"/>
                <a:gd name="connsiteY0" fmla="*/ 0 h 770466"/>
                <a:gd name="connsiteX1" fmla="*/ 8467 w 237067"/>
                <a:gd name="connsiteY1" fmla="*/ 245533 h 770466"/>
                <a:gd name="connsiteX2" fmla="*/ 50800 w 237067"/>
                <a:gd name="connsiteY2" fmla="*/ 440266 h 770466"/>
                <a:gd name="connsiteX3" fmla="*/ 93134 w 237067"/>
                <a:gd name="connsiteY3" fmla="*/ 618066 h 770466"/>
                <a:gd name="connsiteX4" fmla="*/ 237067 w 237067"/>
                <a:gd name="connsiteY4" fmla="*/ 770466 h 770466"/>
                <a:gd name="connsiteX0" fmla="*/ 0 w 418102"/>
                <a:gd name="connsiteY0" fmla="*/ 0 h 640613"/>
                <a:gd name="connsiteX1" fmla="*/ 8467 w 418102"/>
                <a:gd name="connsiteY1" fmla="*/ 245533 h 640613"/>
                <a:gd name="connsiteX2" fmla="*/ 50800 w 418102"/>
                <a:gd name="connsiteY2" fmla="*/ 440266 h 640613"/>
                <a:gd name="connsiteX3" fmla="*/ 93134 w 418102"/>
                <a:gd name="connsiteY3" fmla="*/ 618066 h 640613"/>
                <a:gd name="connsiteX4" fmla="*/ 418102 w 418102"/>
                <a:gd name="connsiteY4" fmla="*/ 624839 h 640613"/>
                <a:gd name="connsiteX0" fmla="*/ 0 w 418102"/>
                <a:gd name="connsiteY0" fmla="*/ 0 h 624839"/>
                <a:gd name="connsiteX1" fmla="*/ 8467 w 418102"/>
                <a:gd name="connsiteY1" fmla="*/ 245533 h 624839"/>
                <a:gd name="connsiteX2" fmla="*/ 50800 w 418102"/>
                <a:gd name="connsiteY2" fmla="*/ 440266 h 624839"/>
                <a:gd name="connsiteX3" fmla="*/ 418102 w 418102"/>
                <a:gd name="connsiteY3" fmla="*/ 624839 h 624839"/>
                <a:gd name="connsiteX0" fmla="*/ 24862 w 442964"/>
                <a:gd name="connsiteY0" fmla="*/ 0 h 624839"/>
                <a:gd name="connsiteX1" fmla="*/ 33329 w 442964"/>
                <a:gd name="connsiteY1" fmla="*/ 245533 h 624839"/>
                <a:gd name="connsiteX2" fmla="*/ 442964 w 442964"/>
                <a:gd name="connsiteY2" fmla="*/ 624839 h 624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42964" h="624839">
                  <a:moveTo>
                    <a:pt x="24862" y="0"/>
                  </a:moveTo>
                  <a:cubicBezTo>
                    <a:pt x="24862" y="86077"/>
                    <a:pt x="-36355" y="141393"/>
                    <a:pt x="33329" y="245533"/>
                  </a:cubicBezTo>
                  <a:cubicBezTo>
                    <a:pt x="103013" y="349673"/>
                    <a:pt x="357623" y="545817"/>
                    <a:pt x="442964" y="624839"/>
                  </a:cubicBezTo>
                </a:path>
              </a:pathLst>
            </a:custGeom>
            <a:ln w="76200" cmpd="sng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904">
                <a:latin typeface="+mj-lt"/>
              </a:endParaRPr>
            </a:p>
          </p:txBody>
        </p:sp>
        <p:sp>
          <p:nvSpPr>
            <p:cNvPr id="29" name="Овал 28">
              <a:extLst>
                <a:ext uri="{FF2B5EF4-FFF2-40B4-BE49-F238E27FC236}">
                  <a16:creationId xmlns:a16="http://schemas.microsoft.com/office/drawing/2014/main" id="{6281484F-A0B8-4C3E-AF83-FE223C9E935E}"/>
                </a:ext>
              </a:extLst>
            </p:cNvPr>
            <p:cNvSpPr/>
            <p:nvPr/>
          </p:nvSpPr>
          <p:spPr>
            <a:xfrm>
              <a:off x="3310571" y="3938481"/>
              <a:ext cx="277477" cy="277477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7" dirty="0">
                <a:latin typeface="+mj-lt"/>
              </a:endParaRPr>
            </a:p>
          </p:txBody>
        </p:sp>
        <p:sp>
          <p:nvSpPr>
            <p:cNvPr id="25" name="Овал 24">
              <a:extLst>
                <a:ext uri="{FF2B5EF4-FFF2-40B4-BE49-F238E27FC236}">
                  <a16:creationId xmlns:a16="http://schemas.microsoft.com/office/drawing/2014/main" id="{D37DAB1F-69B1-40DF-B8A6-EE84828AC88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969375" y="3107092"/>
              <a:ext cx="341196" cy="341196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98292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7" dirty="0">
                <a:latin typeface="+mj-lt"/>
              </a:endParaRPr>
            </a:p>
          </p:txBody>
        </p:sp>
        <p:cxnSp>
          <p:nvCxnSpPr>
            <p:cNvPr id="66" name="Прямая со стрелкой 65">
              <a:extLst>
                <a:ext uri="{FF2B5EF4-FFF2-40B4-BE49-F238E27FC236}">
                  <a16:creationId xmlns:a16="http://schemas.microsoft.com/office/drawing/2014/main" id="{39106EF2-8977-4386-9C6D-5C4357D300D5}"/>
                </a:ext>
              </a:extLst>
            </p:cNvPr>
            <p:cNvCxnSpPr>
              <a:stCxn id="27" idx="0"/>
            </p:cNvCxnSpPr>
            <p:nvPr/>
          </p:nvCxnSpPr>
          <p:spPr>
            <a:xfrm flipH="1" flipV="1">
              <a:off x="1890129" y="4366982"/>
              <a:ext cx="140830" cy="872830"/>
            </a:xfrm>
            <a:prstGeom prst="straightConnector1">
              <a:avLst/>
            </a:prstGeom>
            <a:ln w="50800" cmpd="dbl">
              <a:solidFill>
                <a:srgbClr val="00906A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Прямая со стрелкой 69">
              <a:extLst>
                <a:ext uri="{FF2B5EF4-FFF2-40B4-BE49-F238E27FC236}">
                  <a16:creationId xmlns:a16="http://schemas.microsoft.com/office/drawing/2014/main" id="{39106EF2-8977-4386-9C6D-5C4357D300D5}"/>
                </a:ext>
              </a:extLst>
            </p:cNvPr>
            <p:cNvCxnSpPr/>
            <p:nvPr/>
          </p:nvCxnSpPr>
          <p:spPr>
            <a:xfrm>
              <a:off x="2021632" y="5431850"/>
              <a:ext cx="882397" cy="321394"/>
            </a:xfrm>
            <a:prstGeom prst="straightConnector1">
              <a:avLst/>
            </a:prstGeom>
            <a:ln w="50800" cmpd="dbl">
              <a:solidFill>
                <a:srgbClr val="00906A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Овал 26">
              <a:extLst>
                <a:ext uri="{FF2B5EF4-FFF2-40B4-BE49-F238E27FC236}">
                  <a16:creationId xmlns:a16="http://schemas.microsoft.com/office/drawing/2014/main" id="{92F28675-0AC6-4C70-A93B-020ACA6D6013}"/>
                </a:ext>
              </a:extLst>
            </p:cNvPr>
            <p:cNvSpPr/>
            <p:nvPr/>
          </p:nvSpPr>
          <p:spPr>
            <a:xfrm>
              <a:off x="1860361" y="5239812"/>
              <a:ext cx="341196" cy="341236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98292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7" dirty="0">
                <a:latin typeface="+mj-lt"/>
              </a:endParaRPr>
            </a:p>
          </p:txBody>
        </p:sp>
        <p:cxnSp>
          <p:nvCxnSpPr>
            <p:cNvPr id="23" name="Прямая соединительная линия 22">
              <a:extLst>
                <a:ext uri="{FF2B5EF4-FFF2-40B4-BE49-F238E27FC236}">
                  <a16:creationId xmlns:a16="http://schemas.microsoft.com/office/drawing/2014/main" id="{E31AF4F8-9D93-47AA-A1F2-6B3A2F2131C8}"/>
                </a:ext>
              </a:extLst>
            </p:cNvPr>
            <p:cNvCxnSpPr/>
            <p:nvPr/>
          </p:nvCxnSpPr>
          <p:spPr>
            <a:xfrm>
              <a:off x="2114860" y="5581048"/>
              <a:ext cx="427973" cy="597164"/>
            </a:xfrm>
            <a:prstGeom prst="line">
              <a:avLst/>
            </a:prstGeom>
            <a:ln>
              <a:solidFill>
                <a:srgbClr val="FF0000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7" name="Рисунок 76">
              <a:extLst>
                <a:ext uri="{FF2B5EF4-FFF2-40B4-BE49-F238E27FC236}">
                  <a16:creationId xmlns:a16="http://schemas.microsoft.com/office/drawing/2014/main" id="{01EE9B77-03F7-453E-9821-7745BE36DB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biLevel thresh="75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767248" y="2280055"/>
              <a:ext cx="359766" cy="359766"/>
            </a:xfrm>
            <a:prstGeom prst="rect">
              <a:avLst/>
            </a:prstGeom>
          </p:spPr>
        </p:pic>
      </p:grpSp>
      <p:sp>
        <p:nvSpPr>
          <p:cNvPr id="104" name="Полилиния 103"/>
          <p:cNvSpPr/>
          <p:nvPr/>
        </p:nvSpPr>
        <p:spPr>
          <a:xfrm>
            <a:off x="-28255" y="5219803"/>
            <a:ext cx="2196269" cy="1563880"/>
          </a:xfrm>
          <a:custGeom>
            <a:avLst/>
            <a:gdLst>
              <a:gd name="connsiteX0" fmla="*/ 2196269 w 2196269"/>
              <a:gd name="connsiteY0" fmla="*/ 0 h 1563880"/>
              <a:gd name="connsiteX1" fmla="*/ 1435694 w 2196269"/>
              <a:gd name="connsiteY1" fmla="*/ 256374 h 1563880"/>
              <a:gd name="connsiteX2" fmla="*/ 811851 w 2196269"/>
              <a:gd name="connsiteY2" fmla="*/ 1034041 h 1563880"/>
              <a:gd name="connsiteX3" fmla="*/ 0 w 2196269"/>
              <a:gd name="connsiteY3" fmla="*/ 1563880 h 1563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6269" h="1563880">
                <a:moveTo>
                  <a:pt x="2196269" y="0"/>
                </a:moveTo>
                <a:cubicBezTo>
                  <a:pt x="1931349" y="42017"/>
                  <a:pt x="1666430" y="84034"/>
                  <a:pt x="1435694" y="256374"/>
                </a:cubicBezTo>
                <a:cubicBezTo>
                  <a:pt x="1204958" y="428714"/>
                  <a:pt x="1051133" y="816123"/>
                  <a:pt x="811851" y="1034041"/>
                </a:cubicBezTo>
                <a:cubicBezTo>
                  <a:pt x="572569" y="1251959"/>
                  <a:pt x="99701" y="1471301"/>
                  <a:pt x="0" y="1563880"/>
                </a:cubicBezTo>
              </a:path>
            </a:pathLst>
          </a:custGeom>
          <a:ln w="76200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904">
              <a:solidFill>
                <a:schemeClr val="tx1"/>
              </a:solidFill>
              <a:latin typeface="+mj-lt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11</a:t>
            </a:fld>
            <a:endParaRPr lang="ru-RU"/>
          </a:p>
        </p:txBody>
      </p:sp>
      <p:sp>
        <p:nvSpPr>
          <p:cNvPr id="11" name="Полилиния 10"/>
          <p:cNvSpPr/>
          <p:nvPr/>
        </p:nvSpPr>
        <p:spPr>
          <a:xfrm>
            <a:off x="6718423" y="331336"/>
            <a:ext cx="4337812" cy="438410"/>
          </a:xfrm>
          <a:custGeom>
            <a:avLst/>
            <a:gdLst>
              <a:gd name="connsiteX0" fmla="*/ 76200 w 3352800"/>
              <a:gd name="connsiteY0" fmla="*/ 0 h 438150"/>
              <a:gd name="connsiteX1" fmla="*/ 3352800 w 3352800"/>
              <a:gd name="connsiteY1" fmla="*/ 9525 h 438150"/>
              <a:gd name="connsiteX2" fmla="*/ 3352800 w 3352800"/>
              <a:gd name="connsiteY2" fmla="*/ 438150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52800"/>
              <a:gd name="connsiteY0" fmla="*/ 0 h 438150"/>
              <a:gd name="connsiteX1" fmla="*/ 3343275 w 3352800"/>
              <a:gd name="connsiteY1" fmla="*/ 0 h 438150"/>
              <a:gd name="connsiteX2" fmla="*/ 3352800 w 3352800"/>
              <a:gd name="connsiteY2" fmla="*/ 438150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43275"/>
              <a:gd name="connsiteY0" fmla="*/ 0 h 438150"/>
              <a:gd name="connsiteX1" fmla="*/ 3343275 w 3343275"/>
              <a:gd name="connsiteY1" fmla="*/ 0 h 438150"/>
              <a:gd name="connsiteX2" fmla="*/ 3333750 w 3343275"/>
              <a:gd name="connsiteY2" fmla="*/ 438150 h 438150"/>
              <a:gd name="connsiteX3" fmla="*/ 0 w 3343275"/>
              <a:gd name="connsiteY3" fmla="*/ 438150 h 438150"/>
              <a:gd name="connsiteX4" fmla="*/ 76200 w 3343275"/>
              <a:gd name="connsiteY4" fmla="*/ 0 h 438150"/>
              <a:gd name="connsiteX0" fmla="*/ 76200 w 3352800"/>
              <a:gd name="connsiteY0" fmla="*/ 0 h 438150"/>
              <a:gd name="connsiteX1" fmla="*/ 3343275 w 3352800"/>
              <a:gd name="connsiteY1" fmla="*/ 0 h 438150"/>
              <a:gd name="connsiteX2" fmla="*/ 3352800 w 3352800"/>
              <a:gd name="connsiteY2" fmla="*/ 428625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43275"/>
              <a:gd name="connsiteY0" fmla="*/ 0 h 447675"/>
              <a:gd name="connsiteX1" fmla="*/ 3343275 w 3343275"/>
              <a:gd name="connsiteY1" fmla="*/ 0 h 447675"/>
              <a:gd name="connsiteX2" fmla="*/ 3333750 w 3343275"/>
              <a:gd name="connsiteY2" fmla="*/ 447675 h 447675"/>
              <a:gd name="connsiteX3" fmla="*/ 0 w 3343275"/>
              <a:gd name="connsiteY3" fmla="*/ 438150 h 447675"/>
              <a:gd name="connsiteX4" fmla="*/ 76200 w 3343275"/>
              <a:gd name="connsiteY4" fmla="*/ 0 h 447675"/>
              <a:gd name="connsiteX0" fmla="*/ 76200 w 3343275"/>
              <a:gd name="connsiteY0" fmla="*/ 0 h 438150"/>
              <a:gd name="connsiteX1" fmla="*/ 3343275 w 3343275"/>
              <a:gd name="connsiteY1" fmla="*/ 0 h 438150"/>
              <a:gd name="connsiteX2" fmla="*/ 3343275 w 3343275"/>
              <a:gd name="connsiteY2" fmla="*/ 438150 h 438150"/>
              <a:gd name="connsiteX3" fmla="*/ 0 w 3343275"/>
              <a:gd name="connsiteY3" fmla="*/ 438150 h 438150"/>
              <a:gd name="connsiteX4" fmla="*/ 76200 w 3343275"/>
              <a:gd name="connsiteY4" fmla="*/ 0 h 438150"/>
              <a:gd name="connsiteX0" fmla="*/ 144439 w 3411514"/>
              <a:gd name="connsiteY0" fmla="*/ 0 h 438150"/>
              <a:gd name="connsiteX1" fmla="*/ 3411514 w 3411514"/>
              <a:gd name="connsiteY1" fmla="*/ 0 h 438150"/>
              <a:gd name="connsiteX2" fmla="*/ 3411514 w 3411514"/>
              <a:gd name="connsiteY2" fmla="*/ 438150 h 438150"/>
              <a:gd name="connsiteX3" fmla="*/ 0 w 3411514"/>
              <a:gd name="connsiteY3" fmla="*/ 438150 h 438150"/>
              <a:gd name="connsiteX4" fmla="*/ 144439 w 3411514"/>
              <a:gd name="connsiteY4" fmla="*/ 0 h 438150"/>
              <a:gd name="connsiteX0" fmla="*/ 117143 w 3384218"/>
              <a:gd name="connsiteY0" fmla="*/ 0 h 438150"/>
              <a:gd name="connsiteX1" fmla="*/ 3384218 w 3384218"/>
              <a:gd name="connsiteY1" fmla="*/ 0 h 438150"/>
              <a:gd name="connsiteX2" fmla="*/ 3384218 w 3384218"/>
              <a:gd name="connsiteY2" fmla="*/ 438150 h 438150"/>
              <a:gd name="connsiteX3" fmla="*/ 0 w 3384218"/>
              <a:gd name="connsiteY3" fmla="*/ 438150 h 438150"/>
              <a:gd name="connsiteX4" fmla="*/ 117143 w 3384218"/>
              <a:gd name="connsiteY4" fmla="*/ 0 h 438150"/>
              <a:gd name="connsiteX0" fmla="*/ 117143 w 4325913"/>
              <a:gd name="connsiteY0" fmla="*/ 0 h 438150"/>
              <a:gd name="connsiteX1" fmla="*/ 4325913 w 4325913"/>
              <a:gd name="connsiteY1" fmla="*/ 0 h 438150"/>
              <a:gd name="connsiteX2" fmla="*/ 3384218 w 4325913"/>
              <a:gd name="connsiteY2" fmla="*/ 438150 h 438150"/>
              <a:gd name="connsiteX3" fmla="*/ 0 w 4325913"/>
              <a:gd name="connsiteY3" fmla="*/ 438150 h 438150"/>
              <a:gd name="connsiteX4" fmla="*/ 117143 w 4325913"/>
              <a:gd name="connsiteY4" fmla="*/ 0 h 438150"/>
              <a:gd name="connsiteX0" fmla="*/ 117143 w 4325913"/>
              <a:gd name="connsiteY0" fmla="*/ 0 h 451798"/>
              <a:gd name="connsiteX1" fmla="*/ 4325913 w 4325913"/>
              <a:gd name="connsiteY1" fmla="*/ 0 h 451798"/>
              <a:gd name="connsiteX2" fmla="*/ 4312266 w 4325913"/>
              <a:gd name="connsiteY2" fmla="*/ 451798 h 451798"/>
              <a:gd name="connsiteX3" fmla="*/ 0 w 4325913"/>
              <a:gd name="connsiteY3" fmla="*/ 438150 h 451798"/>
              <a:gd name="connsiteX4" fmla="*/ 117143 w 4325913"/>
              <a:gd name="connsiteY4" fmla="*/ 0 h 451798"/>
              <a:gd name="connsiteX0" fmla="*/ 117143 w 4325914"/>
              <a:gd name="connsiteY0" fmla="*/ 0 h 438150"/>
              <a:gd name="connsiteX1" fmla="*/ 4325913 w 4325914"/>
              <a:gd name="connsiteY1" fmla="*/ 0 h 438150"/>
              <a:gd name="connsiteX2" fmla="*/ 4325914 w 4325914"/>
              <a:gd name="connsiteY2" fmla="*/ 438150 h 438150"/>
              <a:gd name="connsiteX3" fmla="*/ 0 w 4325914"/>
              <a:gd name="connsiteY3" fmla="*/ 438150 h 438150"/>
              <a:gd name="connsiteX4" fmla="*/ 117143 w 4325914"/>
              <a:gd name="connsiteY4" fmla="*/ 0 h 438150"/>
              <a:gd name="connsiteX0" fmla="*/ 117143 w 4339562"/>
              <a:gd name="connsiteY0" fmla="*/ 0 h 451797"/>
              <a:gd name="connsiteX1" fmla="*/ 4325913 w 4339562"/>
              <a:gd name="connsiteY1" fmla="*/ 0 h 451797"/>
              <a:gd name="connsiteX2" fmla="*/ 4339562 w 4339562"/>
              <a:gd name="connsiteY2" fmla="*/ 451797 h 451797"/>
              <a:gd name="connsiteX3" fmla="*/ 0 w 4339562"/>
              <a:gd name="connsiteY3" fmla="*/ 438150 h 451797"/>
              <a:gd name="connsiteX4" fmla="*/ 117143 w 4339562"/>
              <a:gd name="connsiteY4" fmla="*/ 0 h 451797"/>
              <a:gd name="connsiteX0" fmla="*/ 117143 w 4325913"/>
              <a:gd name="connsiteY0" fmla="*/ 0 h 451797"/>
              <a:gd name="connsiteX1" fmla="*/ 4325913 w 4325913"/>
              <a:gd name="connsiteY1" fmla="*/ 0 h 451797"/>
              <a:gd name="connsiteX2" fmla="*/ 4312266 w 4325913"/>
              <a:gd name="connsiteY2" fmla="*/ 451797 h 451797"/>
              <a:gd name="connsiteX3" fmla="*/ 0 w 4325913"/>
              <a:gd name="connsiteY3" fmla="*/ 438150 h 451797"/>
              <a:gd name="connsiteX4" fmla="*/ 117143 w 4325913"/>
              <a:gd name="connsiteY4" fmla="*/ 0 h 451797"/>
              <a:gd name="connsiteX0" fmla="*/ 117143 w 4325914"/>
              <a:gd name="connsiteY0" fmla="*/ 0 h 438150"/>
              <a:gd name="connsiteX1" fmla="*/ 4325913 w 4325914"/>
              <a:gd name="connsiteY1" fmla="*/ 0 h 438150"/>
              <a:gd name="connsiteX2" fmla="*/ 4325914 w 4325914"/>
              <a:gd name="connsiteY2" fmla="*/ 424502 h 438150"/>
              <a:gd name="connsiteX3" fmla="*/ 0 w 4325914"/>
              <a:gd name="connsiteY3" fmla="*/ 438150 h 438150"/>
              <a:gd name="connsiteX4" fmla="*/ 117143 w 4325914"/>
              <a:gd name="connsiteY4" fmla="*/ 0 h 438150"/>
              <a:gd name="connsiteX0" fmla="*/ 117143 w 4325913"/>
              <a:gd name="connsiteY0" fmla="*/ 0 h 438409"/>
              <a:gd name="connsiteX1" fmla="*/ 4325913 w 4325913"/>
              <a:gd name="connsiteY1" fmla="*/ 0 h 438409"/>
              <a:gd name="connsiteX2" fmla="*/ 4318960 w 4325913"/>
              <a:gd name="connsiteY2" fmla="*/ 438409 h 438409"/>
              <a:gd name="connsiteX3" fmla="*/ 0 w 4325913"/>
              <a:gd name="connsiteY3" fmla="*/ 438150 h 438409"/>
              <a:gd name="connsiteX4" fmla="*/ 117143 w 4325913"/>
              <a:gd name="connsiteY4" fmla="*/ 0 h 438409"/>
              <a:gd name="connsiteX0" fmla="*/ 154850 w 4325913"/>
              <a:gd name="connsiteY0" fmla="*/ 9427 h 438409"/>
              <a:gd name="connsiteX1" fmla="*/ 4325913 w 4325913"/>
              <a:gd name="connsiteY1" fmla="*/ 0 h 438409"/>
              <a:gd name="connsiteX2" fmla="*/ 4318960 w 4325913"/>
              <a:gd name="connsiteY2" fmla="*/ 438409 h 438409"/>
              <a:gd name="connsiteX3" fmla="*/ 0 w 4325913"/>
              <a:gd name="connsiteY3" fmla="*/ 438150 h 438409"/>
              <a:gd name="connsiteX4" fmla="*/ 154850 w 4325913"/>
              <a:gd name="connsiteY4" fmla="*/ 9427 h 438409"/>
              <a:gd name="connsiteX0" fmla="*/ 117143 w 4288206"/>
              <a:gd name="connsiteY0" fmla="*/ 9427 h 438409"/>
              <a:gd name="connsiteX1" fmla="*/ 4288206 w 4288206"/>
              <a:gd name="connsiteY1" fmla="*/ 0 h 438409"/>
              <a:gd name="connsiteX2" fmla="*/ 4281253 w 4288206"/>
              <a:gd name="connsiteY2" fmla="*/ 438409 h 438409"/>
              <a:gd name="connsiteX3" fmla="*/ 0 w 4288206"/>
              <a:gd name="connsiteY3" fmla="*/ 428723 h 438409"/>
              <a:gd name="connsiteX4" fmla="*/ 117143 w 4288206"/>
              <a:gd name="connsiteY4" fmla="*/ 9427 h 438409"/>
              <a:gd name="connsiteX0" fmla="*/ 126570 w 4288206"/>
              <a:gd name="connsiteY0" fmla="*/ 0 h 438409"/>
              <a:gd name="connsiteX1" fmla="*/ 4288206 w 4288206"/>
              <a:gd name="connsiteY1" fmla="*/ 0 h 438409"/>
              <a:gd name="connsiteX2" fmla="*/ 4281253 w 4288206"/>
              <a:gd name="connsiteY2" fmla="*/ 438409 h 438409"/>
              <a:gd name="connsiteX3" fmla="*/ 0 w 4288206"/>
              <a:gd name="connsiteY3" fmla="*/ 428723 h 438409"/>
              <a:gd name="connsiteX4" fmla="*/ 126570 w 4288206"/>
              <a:gd name="connsiteY4" fmla="*/ 0 h 438409"/>
              <a:gd name="connsiteX0" fmla="*/ 107716 w 4269352"/>
              <a:gd name="connsiteY0" fmla="*/ 0 h 438409"/>
              <a:gd name="connsiteX1" fmla="*/ 4269352 w 4269352"/>
              <a:gd name="connsiteY1" fmla="*/ 0 h 438409"/>
              <a:gd name="connsiteX2" fmla="*/ 4262399 w 4269352"/>
              <a:gd name="connsiteY2" fmla="*/ 438409 h 438409"/>
              <a:gd name="connsiteX3" fmla="*/ 0 w 4269352"/>
              <a:gd name="connsiteY3" fmla="*/ 428723 h 438409"/>
              <a:gd name="connsiteX4" fmla="*/ 107716 w 4269352"/>
              <a:gd name="connsiteY4" fmla="*/ 0 h 438409"/>
              <a:gd name="connsiteX0" fmla="*/ 126569 w 4288205"/>
              <a:gd name="connsiteY0" fmla="*/ 0 h 438409"/>
              <a:gd name="connsiteX1" fmla="*/ 4288205 w 4288205"/>
              <a:gd name="connsiteY1" fmla="*/ 0 h 438409"/>
              <a:gd name="connsiteX2" fmla="*/ 4281252 w 4288205"/>
              <a:gd name="connsiteY2" fmla="*/ 438409 h 438409"/>
              <a:gd name="connsiteX3" fmla="*/ 0 w 4288205"/>
              <a:gd name="connsiteY3" fmla="*/ 428723 h 438409"/>
              <a:gd name="connsiteX4" fmla="*/ 126569 w 4288205"/>
              <a:gd name="connsiteY4" fmla="*/ 0 h 438409"/>
              <a:gd name="connsiteX0" fmla="*/ 126569 w 4288205"/>
              <a:gd name="connsiteY0" fmla="*/ 0 h 438409"/>
              <a:gd name="connsiteX1" fmla="*/ 4288205 w 4288205"/>
              <a:gd name="connsiteY1" fmla="*/ 0 h 438409"/>
              <a:gd name="connsiteX2" fmla="*/ 4281252 w 4288205"/>
              <a:gd name="connsiteY2" fmla="*/ 438409 h 438409"/>
              <a:gd name="connsiteX3" fmla="*/ 0 w 4288205"/>
              <a:gd name="connsiteY3" fmla="*/ 428723 h 438409"/>
              <a:gd name="connsiteX4" fmla="*/ 126569 w 4288205"/>
              <a:gd name="connsiteY4" fmla="*/ 0 h 438409"/>
              <a:gd name="connsiteX0" fmla="*/ 135995 w 4297631"/>
              <a:gd name="connsiteY0" fmla="*/ 0 h 438409"/>
              <a:gd name="connsiteX1" fmla="*/ 4297631 w 4297631"/>
              <a:gd name="connsiteY1" fmla="*/ 0 h 438409"/>
              <a:gd name="connsiteX2" fmla="*/ 4290678 w 4297631"/>
              <a:gd name="connsiteY2" fmla="*/ 438409 h 438409"/>
              <a:gd name="connsiteX3" fmla="*/ 0 w 4297631"/>
              <a:gd name="connsiteY3" fmla="*/ 438150 h 438409"/>
              <a:gd name="connsiteX4" fmla="*/ 135995 w 4297631"/>
              <a:gd name="connsiteY4" fmla="*/ 0 h 438409"/>
              <a:gd name="connsiteX0" fmla="*/ 135995 w 4309531"/>
              <a:gd name="connsiteY0" fmla="*/ 0 h 438150"/>
              <a:gd name="connsiteX1" fmla="*/ 4297631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16484"/>
              <a:gd name="connsiteY0" fmla="*/ 0 h 438150"/>
              <a:gd name="connsiteX1" fmla="*/ 4316484 w 4316484"/>
              <a:gd name="connsiteY1" fmla="*/ 0 h 438150"/>
              <a:gd name="connsiteX2" fmla="*/ 4309531 w 4316484"/>
              <a:gd name="connsiteY2" fmla="*/ 428983 h 438150"/>
              <a:gd name="connsiteX3" fmla="*/ 0 w 4316484"/>
              <a:gd name="connsiteY3" fmla="*/ 438150 h 438150"/>
              <a:gd name="connsiteX4" fmla="*/ 135995 w 4316484"/>
              <a:gd name="connsiteY4" fmla="*/ 0 h 438150"/>
              <a:gd name="connsiteX0" fmla="*/ 135995 w 4309531"/>
              <a:gd name="connsiteY0" fmla="*/ 0 h 438150"/>
              <a:gd name="connsiteX1" fmla="*/ 4307057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09531"/>
              <a:gd name="connsiteY0" fmla="*/ 0 h 438150"/>
              <a:gd name="connsiteX1" fmla="*/ 4307057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07057"/>
              <a:gd name="connsiteY0" fmla="*/ 0 h 438410"/>
              <a:gd name="connsiteX1" fmla="*/ 4307057 w 4307057"/>
              <a:gd name="connsiteY1" fmla="*/ 0 h 438410"/>
              <a:gd name="connsiteX2" fmla="*/ 4300104 w 4307057"/>
              <a:gd name="connsiteY2" fmla="*/ 438410 h 438410"/>
              <a:gd name="connsiteX3" fmla="*/ 0 w 4307057"/>
              <a:gd name="connsiteY3" fmla="*/ 438150 h 438410"/>
              <a:gd name="connsiteX4" fmla="*/ 135995 w 4307057"/>
              <a:gd name="connsiteY4" fmla="*/ 0 h 438410"/>
              <a:gd name="connsiteX0" fmla="*/ 135995 w 4300104"/>
              <a:gd name="connsiteY0" fmla="*/ 0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135995 w 4300104"/>
              <a:gd name="connsiteY4" fmla="*/ 0 h 438410"/>
              <a:gd name="connsiteX0" fmla="*/ 88861 w 4300104"/>
              <a:gd name="connsiteY0" fmla="*/ 9427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88861 w 4300104"/>
              <a:gd name="connsiteY4" fmla="*/ 9427 h 438410"/>
              <a:gd name="connsiteX0" fmla="*/ 88861 w 4300104"/>
              <a:gd name="connsiteY0" fmla="*/ 9427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88861 w 4300104"/>
              <a:gd name="connsiteY4" fmla="*/ 9427 h 438410"/>
              <a:gd name="connsiteX0" fmla="*/ 98288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98288 w 4309531"/>
              <a:gd name="connsiteY4" fmla="*/ 9427 h 438410"/>
              <a:gd name="connsiteX0" fmla="*/ 98288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98288 w 4309531"/>
              <a:gd name="connsiteY4" fmla="*/ 9427 h 438410"/>
              <a:gd name="connsiteX0" fmla="*/ 79434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9427 h 438410"/>
              <a:gd name="connsiteX0" fmla="*/ 79434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9427 h 438410"/>
              <a:gd name="connsiteX0" fmla="*/ 79434 w 4309531"/>
              <a:gd name="connsiteY0" fmla="*/ 4832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4832 h 438410"/>
              <a:gd name="connsiteX0" fmla="*/ 88624 w 4309531"/>
              <a:gd name="connsiteY0" fmla="*/ 4832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88624 w 4309531"/>
              <a:gd name="connsiteY4" fmla="*/ 4832 h 438410"/>
              <a:gd name="connsiteX0" fmla="*/ 74839 w 4309531"/>
              <a:gd name="connsiteY0" fmla="*/ 23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4839 w 4309531"/>
              <a:gd name="connsiteY4" fmla="*/ 237 h 438410"/>
              <a:gd name="connsiteX0" fmla="*/ 103120 w 4337812"/>
              <a:gd name="connsiteY0" fmla="*/ 237 h 438410"/>
              <a:gd name="connsiteX1" fmla="*/ 4335712 w 4337812"/>
              <a:gd name="connsiteY1" fmla="*/ 0 h 438410"/>
              <a:gd name="connsiteX2" fmla="*/ 4337812 w 4337812"/>
              <a:gd name="connsiteY2" fmla="*/ 438410 h 438410"/>
              <a:gd name="connsiteX3" fmla="*/ 0 w 4337812"/>
              <a:gd name="connsiteY3" fmla="*/ 428723 h 438410"/>
              <a:gd name="connsiteX4" fmla="*/ 103120 w 4337812"/>
              <a:gd name="connsiteY4" fmla="*/ 237 h 438410"/>
              <a:gd name="connsiteX0" fmla="*/ 103120 w 4337812"/>
              <a:gd name="connsiteY0" fmla="*/ 237 h 447577"/>
              <a:gd name="connsiteX1" fmla="*/ 4335712 w 4337812"/>
              <a:gd name="connsiteY1" fmla="*/ 0 h 447577"/>
              <a:gd name="connsiteX2" fmla="*/ 4337812 w 4337812"/>
              <a:gd name="connsiteY2" fmla="*/ 438410 h 447577"/>
              <a:gd name="connsiteX3" fmla="*/ 0 w 4337812"/>
              <a:gd name="connsiteY3" fmla="*/ 447577 h 447577"/>
              <a:gd name="connsiteX4" fmla="*/ 103120 w 4337812"/>
              <a:gd name="connsiteY4" fmla="*/ 237 h 447577"/>
              <a:gd name="connsiteX0" fmla="*/ 103120 w 4337812"/>
              <a:gd name="connsiteY0" fmla="*/ 237 h 447577"/>
              <a:gd name="connsiteX1" fmla="*/ 4335712 w 4337812"/>
              <a:gd name="connsiteY1" fmla="*/ 0 h 447577"/>
              <a:gd name="connsiteX2" fmla="*/ 4337812 w 4337812"/>
              <a:gd name="connsiteY2" fmla="*/ 438410 h 447577"/>
              <a:gd name="connsiteX3" fmla="*/ 0 w 4337812"/>
              <a:gd name="connsiteY3" fmla="*/ 447577 h 447577"/>
              <a:gd name="connsiteX4" fmla="*/ 103120 w 4337812"/>
              <a:gd name="connsiteY4" fmla="*/ 237 h 447577"/>
              <a:gd name="connsiteX0" fmla="*/ 103120 w 4337812"/>
              <a:gd name="connsiteY0" fmla="*/ 237 h 438410"/>
              <a:gd name="connsiteX1" fmla="*/ 4335712 w 4337812"/>
              <a:gd name="connsiteY1" fmla="*/ 0 h 438410"/>
              <a:gd name="connsiteX2" fmla="*/ 4337812 w 4337812"/>
              <a:gd name="connsiteY2" fmla="*/ 438410 h 438410"/>
              <a:gd name="connsiteX3" fmla="*/ 0 w 4337812"/>
              <a:gd name="connsiteY3" fmla="*/ 438150 h 438410"/>
              <a:gd name="connsiteX4" fmla="*/ 103120 w 4337812"/>
              <a:gd name="connsiteY4" fmla="*/ 237 h 438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37812" h="438410">
                <a:moveTo>
                  <a:pt x="103120" y="237"/>
                </a:moveTo>
                <a:lnTo>
                  <a:pt x="4335712" y="0"/>
                </a:lnTo>
                <a:cubicBezTo>
                  <a:pt x="4335712" y="146050"/>
                  <a:pt x="4337812" y="292360"/>
                  <a:pt x="4337812" y="438410"/>
                </a:cubicBezTo>
                <a:lnTo>
                  <a:pt x="0" y="438150"/>
                </a:lnTo>
                <a:lnTo>
                  <a:pt x="103120" y="237"/>
                </a:lnTo>
                <a:close/>
              </a:path>
            </a:pathLst>
          </a:custGeom>
          <a:solidFill>
            <a:srgbClr val="3D49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chemeClr val="bg1"/>
                </a:solidFill>
                <a:latin typeface="PT Sans Narrow" panose="020B0604020202020204" charset="-52"/>
              </a:rPr>
              <a:t>THE SATELLITE HUB </a:t>
            </a:r>
            <a:endParaRPr lang="ru-RU" sz="1600" b="1" dirty="0">
              <a:solidFill>
                <a:schemeClr val="bg1"/>
              </a:solidFill>
              <a:latin typeface="PT Sans Narrow" panose="020B0604020202020204" charset="-52"/>
            </a:endParaRPr>
          </a:p>
        </p:txBody>
      </p:sp>
      <p:sp>
        <p:nvSpPr>
          <p:cNvPr id="12" name="Полилиния 11"/>
          <p:cNvSpPr/>
          <p:nvPr/>
        </p:nvSpPr>
        <p:spPr>
          <a:xfrm>
            <a:off x="659" y="331336"/>
            <a:ext cx="695325" cy="2776047"/>
          </a:xfrm>
          <a:custGeom>
            <a:avLst/>
            <a:gdLst>
              <a:gd name="connsiteX0" fmla="*/ 0 w 657225"/>
              <a:gd name="connsiteY0" fmla="*/ 0 h 2162175"/>
              <a:gd name="connsiteX1" fmla="*/ 657225 w 657225"/>
              <a:gd name="connsiteY1" fmla="*/ 9525 h 2162175"/>
              <a:gd name="connsiteX2" fmla="*/ 19050 w 657225"/>
              <a:gd name="connsiteY2" fmla="*/ 2162175 h 2162175"/>
              <a:gd name="connsiteX3" fmla="*/ 0 w 657225"/>
              <a:gd name="connsiteY3" fmla="*/ 0 h 2162175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52992"/>
              <a:gd name="connsiteX1" fmla="*/ 657225 w 657225"/>
              <a:gd name="connsiteY1" fmla="*/ 9525 h 2152992"/>
              <a:gd name="connsiteX2" fmla="*/ 0 w 657225"/>
              <a:gd name="connsiteY2" fmla="*/ 2152992 h 2152992"/>
              <a:gd name="connsiteX3" fmla="*/ 0 w 657225"/>
              <a:gd name="connsiteY3" fmla="*/ 0 h 2152992"/>
              <a:gd name="connsiteX0" fmla="*/ 0 w 657225"/>
              <a:gd name="connsiteY0" fmla="*/ 17738 h 2170730"/>
              <a:gd name="connsiteX1" fmla="*/ 657225 w 657225"/>
              <a:gd name="connsiteY1" fmla="*/ 0 h 2170730"/>
              <a:gd name="connsiteX2" fmla="*/ 0 w 657225"/>
              <a:gd name="connsiteY2" fmla="*/ 2170730 h 2170730"/>
              <a:gd name="connsiteX3" fmla="*/ 0 w 657225"/>
              <a:gd name="connsiteY3" fmla="*/ 17738 h 2170730"/>
              <a:gd name="connsiteX0" fmla="*/ 0 w 657225"/>
              <a:gd name="connsiteY0" fmla="*/ 0 h 2171168"/>
              <a:gd name="connsiteX1" fmla="*/ 657225 w 657225"/>
              <a:gd name="connsiteY1" fmla="*/ 438 h 2171168"/>
              <a:gd name="connsiteX2" fmla="*/ 0 w 657225"/>
              <a:gd name="connsiteY2" fmla="*/ 2171168 h 2171168"/>
              <a:gd name="connsiteX3" fmla="*/ 0 w 657225"/>
              <a:gd name="connsiteY3" fmla="*/ 0 h 2171168"/>
              <a:gd name="connsiteX0" fmla="*/ 0 w 695325"/>
              <a:gd name="connsiteY0" fmla="*/ 0 h 2171168"/>
              <a:gd name="connsiteX1" fmla="*/ 695325 w 695325"/>
              <a:gd name="connsiteY1" fmla="*/ 438 h 2171168"/>
              <a:gd name="connsiteX2" fmla="*/ 0 w 695325"/>
              <a:gd name="connsiteY2" fmla="*/ 2171168 h 2171168"/>
              <a:gd name="connsiteX3" fmla="*/ 0 w 695325"/>
              <a:gd name="connsiteY3" fmla="*/ 0 h 2171168"/>
              <a:gd name="connsiteX0" fmla="*/ 9525 w 704850"/>
              <a:gd name="connsiteY0" fmla="*/ 0 h 2676201"/>
              <a:gd name="connsiteX1" fmla="*/ 704850 w 704850"/>
              <a:gd name="connsiteY1" fmla="*/ 438 h 2676201"/>
              <a:gd name="connsiteX2" fmla="*/ 0 w 704850"/>
              <a:gd name="connsiteY2" fmla="*/ 2676201 h 2676201"/>
              <a:gd name="connsiteX3" fmla="*/ 9525 w 704850"/>
              <a:gd name="connsiteY3" fmla="*/ 0 h 2676201"/>
              <a:gd name="connsiteX0" fmla="*/ 0 w 695325"/>
              <a:gd name="connsiteY0" fmla="*/ 0 h 2667019"/>
              <a:gd name="connsiteX1" fmla="*/ 695325 w 695325"/>
              <a:gd name="connsiteY1" fmla="*/ 438 h 2667019"/>
              <a:gd name="connsiteX2" fmla="*/ 9525 w 695325"/>
              <a:gd name="connsiteY2" fmla="*/ 2667019 h 2667019"/>
              <a:gd name="connsiteX3" fmla="*/ 0 w 695325"/>
              <a:gd name="connsiteY3" fmla="*/ 0 h 2667019"/>
              <a:gd name="connsiteX0" fmla="*/ 0 w 695325"/>
              <a:gd name="connsiteY0" fmla="*/ 0 h 2667019"/>
              <a:gd name="connsiteX1" fmla="*/ 695325 w 695325"/>
              <a:gd name="connsiteY1" fmla="*/ 438 h 2667019"/>
              <a:gd name="connsiteX2" fmla="*/ 9525 w 695325"/>
              <a:gd name="connsiteY2" fmla="*/ 2667019 h 2667019"/>
              <a:gd name="connsiteX3" fmla="*/ 0 w 695325"/>
              <a:gd name="connsiteY3" fmla="*/ 0 h 2667019"/>
              <a:gd name="connsiteX0" fmla="*/ 0 w 695325"/>
              <a:gd name="connsiteY0" fmla="*/ 0 h 2676201"/>
              <a:gd name="connsiteX1" fmla="*/ 695325 w 695325"/>
              <a:gd name="connsiteY1" fmla="*/ 438 h 2676201"/>
              <a:gd name="connsiteX2" fmla="*/ 0 w 695325"/>
              <a:gd name="connsiteY2" fmla="*/ 2676201 h 2676201"/>
              <a:gd name="connsiteX3" fmla="*/ 0 w 695325"/>
              <a:gd name="connsiteY3" fmla="*/ 0 h 2676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325" h="2676201">
                <a:moveTo>
                  <a:pt x="0" y="0"/>
                </a:moveTo>
                <a:lnTo>
                  <a:pt x="695325" y="438"/>
                </a:lnTo>
                <a:lnTo>
                  <a:pt x="0" y="2676201"/>
                </a:lnTo>
                <a:lnTo>
                  <a:pt x="0" y="0"/>
                </a:lnTo>
                <a:close/>
              </a:path>
            </a:pathLst>
          </a:custGeom>
          <a:solidFill>
            <a:srgbClr val="9829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Полилиния 12"/>
          <p:cNvSpPr/>
          <p:nvPr/>
        </p:nvSpPr>
        <p:spPr>
          <a:xfrm>
            <a:off x="0" y="0"/>
            <a:ext cx="428625" cy="1743075"/>
          </a:xfrm>
          <a:custGeom>
            <a:avLst/>
            <a:gdLst>
              <a:gd name="connsiteX0" fmla="*/ 0 w 447675"/>
              <a:gd name="connsiteY0" fmla="*/ 0 h 1447800"/>
              <a:gd name="connsiteX1" fmla="*/ 447675 w 447675"/>
              <a:gd name="connsiteY1" fmla="*/ 0 h 1447800"/>
              <a:gd name="connsiteX2" fmla="*/ 19050 w 447675"/>
              <a:gd name="connsiteY2" fmla="*/ 1447800 h 1447800"/>
              <a:gd name="connsiteX3" fmla="*/ 0 w 447675"/>
              <a:gd name="connsiteY3" fmla="*/ 0 h 1447800"/>
              <a:gd name="connsiteX0" fmla="*/ 0 w 447675"/>
              <a:gd name="connsiteY0" fmla="*/ 0 h 1476375"/>
              <a:gd name="connsiteX1" fmla="*/ 447675 w 447675"/>
              <a:gd name="connsiteY1" fmla="*/ 0 h 1476375"/>
              <a:gd name="connsiteX2" fmla="*/ 9525 w 447675"/>
              <a:gd name="connsiteY2" fmla="*/ 1476375 h 1476375"/>
              <a:gd name="connsiteX3" fmla="*/ 0 w 447675"/>
              <a:gd name="connsiteY3" fmla="*/ 0 h 1476375"/>
              <a:gd name="connsiteX0" fmla="*/ 0 w 438150"/>
              <a:gd name="connsiteY0" fmla="*/ 28575 h 1476375"/>
              <a:gd name="connsiteX1" fmla="*/ 438150 w 438150"/>
              <a:gd name="connsiteY1" fmla="*/ 0 h 1476375"/>
              <a:gd name="connsiteX2" fmla="*/ 0 w 438150"/>
              <a:gd name="connsiteY2" fmla="*/ 1476375 h 1476375"/>
              <a:gd name="connsiteX3" fmla="*/ 0 w 438150"/>
              <a:gd name="connsiteY3" fmla="*/ 28575 h 1476375"/>
              <a:gd name="connsiteX0" fmla="*/ 9525 w 438150"/>
              <a:gd name="connsiteY0" fmla="*/ 9525 h 1476375"/>
              <a:gd name="connsiteX1" fmla="*/ 438150 w 438150"/>
              <a:gd name="connsiteY1" fmla="*/ 0 h 1476375"/>
              <a:gd name="connsiteX2" fmla="*/ 0 w 438150"/>
              <a:gd name="connsiteY2" fmla="*/ 1476375 h 1476375"/>
              <a:gd name="connsiteX3" fmla="*/ 9525 w 438150"/>
              <a:gd name="connsiteY3" fmla="*/ 9525 h 1476375"/>
              <a:gd name="connsiteX0" fmla="*/ 0 w 428625"/>
              <a:gd name="connsiteY0" fmla="*/ 9525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0 w 428625"/>
              <a:gd name="connsiteY3" fmla="*/ 9525 h 1504950"/>
              <a:gd name="connsiteX0" fmla="*/ 19050 w 428625"/>
              <a:gd name="connsiteY0" fmla="*/ 0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19050 w 428625"/>
              <a:gd name="connsiteY3" fmla="*/ 0 h 1504950"/>
              <a:gd name="connsiteX0" fmla="*/ 0 w 428625"/>
              <a:gd name="connsiteY0" fmla="*/ 0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0 w 428625"/>
              <a:gd name="connsiteY3" fmla="*/ 0 h 1504950"/>
              <a:gd name="connsiteX0" fmla="*/ 0 w 428625"/>
              <a:gd name="connsiteY0" fmla="*/ 0 h 1581150"/>
              <a:gd name="connsiteX1" fmla="*/ 428625 w 428625"/>
              <a:gd name="connsiteY1" fmla="*/ 0 h 1581150"/>
              <a:gd name="connsiteX2" fmla="*/ 0 w 428625"/>
              <a:gd name="connsiteY2" fmla="*/ 1581150 h 1581150"/>
              <a:gd name="connsiteX3" fmla="*/ 0 w 428625"/>
              <a:gd name="connsiteY3" fmla="*/ 0 h 1581150"/>
              <a:gd name="connsiteX0" fmla="*/ 0 w 428625"/>
              <a:gd name="connsiteY0" fmla="*/ 0 h 1743075"/>
              <a:gd name="connsiteX1" fmla="*/ 428625 w 428625"/>
              <a:gd name="connsiteY1" fmla="*/ 0 h 1743075"/>
              <a:gd name="connsiteX2" fmla="*/ 0 w 428625"/>
              <a:gd name="connsiteY2" fmla="*/ 1743075 h 1743075"/>
              <a:gd name="connsiteX3" fmla="*/ 0 w 428625"/>
              <a:gd name="connsiteY3" fmla="*/ 0 h 1743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8625" h="1743075">
                <a:moveTo>
                  <a:pt x="0" y="0"/>
                </a:moveTo>
                <a:lnTo>
                  <a:pt x="428625" y="0"/>
                </a:lnTo>
                <a:lnTo>
                  <a:pt x="0" y="1743075"/>
                </a:lnTo>
                <a:lnTo>
                  <a:pt x="0" y="0"/>
                </a:lnTo>
                <a:close/>
              </a:path>
            </a:pathLst>
          </a:custGeom>
          <a:solidFill>
            <a:srgbClr val="6E6B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C0FE0850-14F8-4879-961E-0989A6E55B6B}"/>
              </a:ext>
            </a:extLst>
          </p:cNvPr>
          <p:cNvSpPr txBox="1"/>
          <p:nvPr/>
        </p:nvSpPr>
        <p:spPr>
          <a:xfrm>
            <a:off x="6517505" y="2134682"/>
            <a:ext cx="4354595" cy="1041371"/>
          </a:xfrm>
          <a:prstGeom prst="rect">
            <a:avLst/>
          </a:prstGeom>
          <a:solidFill>
            <a:schemeClr val="lt1">
              <a:alpha val="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71179" tIns="35590" rIns="71179" bIns="35590" rtlCol="0">
            <a:spAutoFit/>
          </a:bodyPr>
          <a:lstStyle/>
          <a:p>
            <a:pPr marL="708306" lvl="1" indent="-166158">
              <a:spcBef>
                <a:spcPts val="554"/>
              </a:spcBef>
            </a:pPr>
            <a:r>
              <a:rPr lang="en-US" sz="1200" b="1" dirty="0">
                <a:solidFill>
                  <a:schemeClr val="tx1"/>
                </a:solidFill>
                <a:latin typeface="PT Sans Narrow" panose="020B0506020203020204" pitchFamily="34" charset="-52"/>
                <a:ea typeface="Tahoma" panose="020B0604030504040204" pitchFamily="34" charset="0"/>
                <a:cs typeface="Tahoma" panose="020B0604030504040204" pitchFamily="34" charset="0"/>
              </a:rPr>
              <a:t>SHATTLS</a:t>
            </a:r>
            <a:r>
              <a:rPr lang="ru-RU" sz="1200" b="1" dirty="0">
                <a:solidFill>
                  <a:schemeClr val="tx1"/>
                </a:solidFill>
                <a:latin typeface="PT Sans Narrow" panose="020B0506020203020204" pitchFamily="34" charset="-52"/>
                <a:ea typeface="Tahoma" panose="020B0604030504040204" pitchFamily="34" charset="0"/>
                <a:cs typeface="Tahoma" panose="020B0604030504040204" pitchFamily="34" charset="0"/>
              </a:rPr>
              <a:t> («</a:t>
            </a:r>
            <a:r>
              <a:rPr lang="en-US" sz="1200" b="1" dirty="0">
                <a:solidFill>
                  <a:schemeClr val="tx1"/>
                </a:solidFill>
                <a:latin typeface="PT Sans Narrow" panose="020B0506020203020204" pitchFamily="34" charset="-52"/>
                <a:ea typeface="Tahoma" panose="020B0604030504040204" pitchFamily="34" charset="0"/>
                <a:cs typeface="Tahoma" panose="020B0604030504040204" pitchFamily="34" charset="0"/>
              </a:rPr>
              <a:t>regular container trains</a:t>
            </a:r>
            <a:r>
              <a:rPr lang="ru-RU" sz="1200" b="1" dirty="0">
                <a:solidFill>
                  <a:schemeClr val="tx1"/>
                </a:solidFill>
                <a:latin typeface="PT Sans Narrow" panose="020B0506020203020204" pitchFamily="34" charset="-52"/>
                <a:ea typeface="Tahoma" panose="020B0604030504040204" pitchFamily="34" charset="0"/>
                <a:cs typeface="Tahoma" panose="020B0604030504040204" pitchFamily="34" charset="0"/>
              </a:rPr>
              <a:t>»)</a:t>
            </a:r>
          </a:p>
          <a:p>
            <a:pPr marL="713598" lvl="1" indent="-171450">
              <a:spcBef>
                <a:spcPts val="554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PT Sans Narrow" panose="020B0506020203020204" pitchFamily="34" charset="-52"/>
                <a:ea typeface="Tahoma" panose="020B0604030504040204" pitchFamily="34" charset="0"/>
                <a:cs typeface="Tahoma" panose="020B0604030504040204" pitchFamily="34" charset="0"/>
              </a:rPr>
              <a:t>Regular daily schedule irrespective the fallibility of the train</a:t>
            </a:r>
            <a:endParaRPr lang="ru-RU" sz="1200" dirty="0">
              <a:solidFill>
                <a:schemeClr val="tx1"/>
              </a:solidFill>
              <a:latin typeface="PT Sans Narrow" panose="020B0506020203020204" pitchFamily="34" charset="-52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713598" lvl="1" indent="-171450">
              <a:spcBef>
                <a:spcPts val="554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PT Sans Narrow" panose="020B0506020203020204" pitchFamily="34" charset="-52"/>
                <a:ea typeface="Tahoma" panose="020B0604030504040204" pitchFamily="34" charset="0"/>
                <a:cs typeface="Tahoma" panose="020B0604030504040204" pitchFamily="34" charset="0"/>
              </a:rPr>
              <a:t>The train length is suitable for the stations inside the city</a:t>
            </a:r>
          </a:p>
          <a:p>
            <a:pPr marL="713598" lvl="1" indent="-171450">
              <a:spcBef>
                <a:spcPts val="554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PT Sans Narrow" panose="020B0506020203020204" pitchFamily="34" charset="-52"/>
                <a:ea typeface="Tahoma" panose="020B0604030504040204" pitchFamily="34" charset="0"/>
                <a:cs typeface="Tahoma" panose="020B0604030504040204" pitchFamily="34" charset="0"/>
              </a:rPr>
              <a:t>Back delivery of the empty containers to the hub</a:t>
            </a:r>
            <a:endParaRPr lang="ru-RU" sz="1200" dirty="0">
              <a:solidFill>
                <a:schemeClr val="tx1"/>
              </a:solidFill>
              <a:latin typeface="PT Sans Narrow" panose="020B0506020203020204" pitchFamily="34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A782E9CE-DA44-4E4B-9047-FD0448237AAC}"/>
              </a:ext>
            </a:extLst>
          </p:cNvPr>
          <p:cNvSpPr txBox="1"/>
          <p:nvPr/>
        </p:nvSpPr>
        <p:spPr>
          <a:xfrm>
            <a:off x="6517577" y="3294961"/>
            <a:ext cx="4355710" cy="1323439"/>
          </a:xfrm>
          <a:prstGeom prst="rect">
            <a:avLst/>
          </a:prstGeom>
          <a:solidFill>
            <a:schemeClr val="bg1">
              <a:lumMod val="95000"/>
              <a:alpha val="84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pPr lvl="1"/>
            <a:r>
              <a:rPr lang="en-US" sz="1200" b="1" dirty="0">
                <a:latin typeface="PT Sans Narrow" panose="020B0506020203020204" pitchFamily="34" charset="-52"/>
                <a:ea typeface="Tahoma" panose="020B0604030504040204" pitchFamily="34" charset="0"/>
                <a:cs typeface="Tahoma" panose="020B0604030504040204" pitchFamily="34" charset="0"/>
              </a:rPr>
              <a:t>FREIGHT VILLAGE // DRY PORT</a:t>
            </a:r>
            <a:endParaRPr lang="ru-RU" sz="1200" b="1" dirty="0">
              <a:latin typeface="PT Sans Narrow" panose="020B0506020203020204" pitchFamily="34" charset="-52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713598" lvl="1" indent="-171450">
              <a:spcBef>
                <a:spcPts val="554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latin typeface="PT Sans Narrow" panose="020B0506020203020204" pitchFamily="34" charset="-52"/>
                <a:ea typeface="Tahoma" panose="020B0604030504040204" pitchFamily="34" charset="0"/>
                <a:cs typeface="Tahoma" panose="020B0604030504040204" pitchFamily="34" charset="0"/>
              </a:rPr>
              <a:t>Customs operations</a:t>
            </a:r>
            <a:r>
              <a:rPr lang="ru-RU" sz="1200" dirty="0">
                <a:latin typeface="PT Sans Narrow" panose="020B0506020203020204" pitchFamily="34" charset="-52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US" sz="1200" dirty="0">
                <a:latin typeface="PT Sans Narrow" panose="020B0506020203020204" pitchFamily="34" charset="-52"/>
                <a:ea typeface="Tahoma" panose="020B0604030504040204" pitchFamily="34" charset="0"/>
                <a:cs typeface="Tahoma" panose="020B0604030504040204" pitchFamily="34" charset="0"/>
              </a:rPr>
              <a:t>bonded warehouse</a:t>
            </a:r>
            <a:endParaRPr lang="ru-RU" sz="1200" dirty="0">
              <a:latin typeface="PT Sans Narrow" panose="020B0506020203020204" pitchFamily="34" charset="-52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713598" lvl="1" indent="-171450">
              <a:spcBef>
                <a:spcPts val="554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latin typeface="PT Sans Narrow" panose="020B0506020203020204" pitchFamily="34" charset="-52"/>
                <a:ea typeface="Tahoma" panose="020B0604030504040204" pitchFamily="34" charset="0"/>
                <a:cs typeface="Tahoma" panose="020B0604030504040204" pitchFamily="34" charset="0"/>
              </a:rPr>
              <a:t>Sort of containers by destination</a:t>
            </a:r>
            <a:endParaRPr lang="ru-RU" sz="1200" dirty="0">
              <a:latin typeface="PT Sans Narrow" panose="020B0506020203020204" pitchFamily="34" charset="-52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713598" lvl="1" indent="-171450">
              <a:spcBef>
                <a:spcPts val="554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latin typeface="PT Sans Narrow" panose="020B0506020203020204" pitchFamily="34" charset="-52"/>
                <a:ea typeface="Tahoma" panose="020B0604030504040204" pitchFamily="34" charset="0"/>
                <a:cs typeface="Tahoma" panose="020B0604030504040204" pitchFamily="34" charset="0"/>
              </a:rPr>
              <a:t>Container load/unload</a:t>
            </a:r>
            <a:endParaRPr lang="ru-RU" sz="1200" dirty="0">
              <a:latin typeface="PT Sans Narrow" panose="020B0506020203020204" pitchFamily="34" charset="-52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713598" lvl="1" indent="-171450">
              <a:spcBef>
                <a:spcPts val="554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latin typeface="PT Sans Narrow" panose="020B0506020203020204" pitchFamily="34" charset="-52"/>
                <a:ea typeface="Tahoma" panose="020B0604030504040204" pitchFamily="34" charset="0"/>
                <a:cs typeface="Tahoma" panose="020B0604030504040204" pitchFamily="34" charset="0"/>
              </a:rPr>
              <a:t>Train formation</a:t>
            </a:r>
            <a:endParaRPr lang="ru-RU" sz="1200" dirty="0">
              <a:latin typeface="PT Sans Narrow" panose="020B0506020203020204" pitchFamily="34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79" name="Рисунок 78">
            <a:extLst>
              <a:ext uri="{FF2B5EF4-FFF2-40B4-BE49-F238E27FC236}">
                <a16:creationId xmlns:a16="http://schemas.microsoft.com/office/drawing/2014/main" id="{05A3F2C9-8CA0-4D13-AAEB-FC08638A0A7E}"/>
              </a:ext>
            </a:extLst>
          </p:cNvPr>
          <p:cNvPicPr>
            <a:picLocks noChangeAspect="1"/>
          </p:cNvPicPr>
          <p:nvPr/>
        </p:nvPicPr>
        <p:blipFill>
          <a:blip r:embed="rId6">
            <a:biLevel thresh="75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589513" y="3761564"/>
            <a:ext cx="412151" cy="412151"/>
          </a:xfrm>
          <a:prstGeom prst="rect">
            <a:avLst/>
          </a:prstGeom>
        </p:spPr>
      </p:pic>
      <p:pic>
        <p:nvPicPr>
          <p:cNvPr id="81" name="Рисунок 80">
            <a:extLst>
              <a:ext uri="{FF2B5EF4-FFF2-40B4-BE49-F238E27FC236}">
                <a16:creationId xmlns:a16="http://schemas.microsoft.com/office/drawing/2014/main" id="{01EE9B77-03F7-453E-9821-7745BE36DB3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53410" y="3408211"/>
            <a:ext cx="205500" cy="205500"/>
          </a:xfrm>
          <a:prstGeom prst="rect">
            <a:avLst/>
          </a:prstGeom>
        </p:spPr>
      </p:pic>
      <p:pic>
        <p:nvPicPr>
          <p:cNvPr id="82" name="Рисунок 81">
            <a:extLst>
              <a:ext uri="{FF2B5EF4-FFF2-40B4-BE49-F238E27FC236}">
                <a16:creationId xmlns:a16="http://schemas.microsoft.com/office/drawing/2014/main" id="{01EE9B77-03F7-453E-9821-7745BE36DB3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54039" y="3895393"/>
            <a:ext cx="205500" cy="205500"/>
          </a:xfrm>
          <a:prstGeom prst="rect">
            <a:avLst/>
          </a:prstGeom>
        </p:spPr>
      </p:pic>
      <p:pic>
        <p:nvPicPr>
          <p:cNvPr id="83" name="Рисунок 82">
            <a:extLst>
              <a:ext uri="{FF2B5EF4-FFF2-40B4-BE49-F238E27FC236}">
                <a16:creationId xmlns:a16="http://schemas.microsoft.com/office/drawing/2014/main" id="{05A3F2C9-8CA0-4D13-AAEB-FC08638A0A7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236265" y="4608884"/>
            <a:ext cx="240123" cy="240123"/>
          </a:xfrm>
          <a:prstGeom prst="rect">
            <a:avLst/>
          </a:prstGeom>
        </p:spPr>
      </p:pic>
      <p:pic>
        <p:nvPicPr>
          <p:cNvPr id="84" name="Рисунок 83">
            <a:extLst>
              <a:ext uri="{FF2B5EF4-FFF2-40B4-BE49-F238E27FC236}">
                <a16:creationId xmlns:a16="http://schemas.microsoft.com/office/drawing/2014/main" id="{05A3F2C9-8CA0-4D13-AAEB-FC08638A0A7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05894" y="4899469"/>
            <a:ext cx="240123" cy="240123"/>
          </a:xfrm>
          <a:prstGeom prst="rect">
            <a:avLst/>
          </a:prstGeom>
        </p:spPr>
      </p:pic>
      <p:pic>
        <p:nvPicPr>
          <p:cNvPr id="85" name="Рисунок 84">
            <a:extLst>
              <a:ext uri="{FF2B5EF4-FFF2-40B4-BE49-F238E27FC236}">
                <a16:creationId xmlns:a16="http://schemas.microsoft.com/office/drawing/2014/main" id="{05A3F2C9-8CA0-4D13-AAEB-FC08638A0A7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484706" y="2458701"/>
            <a:ext cx="240123" cy="240123"/>
          </a:xfrm>
          <a:prstGeom prst="rect">
            <a:avLst/>
          </a:prstGeom>
        </p:spPr>
      </p:pic>
      <p:sp>
        <p:nvSpPr>
          <p:cNvPr id="87" name="Oval 10">
            <a:extLst>
              <a:ext uri="{FF2B5EF4-FFF2-40B4-BE49-F238E27FC236}">
                <a16:creationId xmlns:a16="http://schemas.microsoft.com/office/drawing/2014/main" id="{2195D2FE-D673-47FF-9A5B-686B93CEDB54}"/>
              </a:ext>
            </a:extLst>
          </p:cNvPr>
          <p:cNvSpPr/>
          <p:nvPr/>
        </p:nvSpPr>
        <p:spPr>
          <a:xfrm>
            <a:off x="5802683" y="1098200"/>
            <a:ext cx="1337976" cy="3519255"/>
          </a:xfrm>
          <a:prstGeom prst="ellipse">
            <a:avLst/>
          </a:prstGeom>
          <a:noFill/>
          <a:ln w="12700">
            <a:solidFill>
              <a:srgbClr val="00906A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69" dirty="0" err="1"/>
          </a:p>
        </p:txBody>
      </p:sp>
      <p:pic>
        <p:nvPicPr>
          <p:cNvPr id="88" name="Рисунок 127">
            <a:extLst>
              <a:ext uri="{FF2B5EF4-FFF2-40B4-BE49-F238E27FC236}">
                <a16:creationId xmlns:a16="http://schemas.microsoft.com/office/drawing/2014/main" id="{3F61E546-1891-40F9-923F-BE31D4A9534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807170" y="1855129"/>
            <a:ext cx="603572" cy="603572"/>
          </a:xfrm>
          <a:prstGeom prst="rect">
            <a:avLst/>
          </a:prstGeom>
        </p:spPr>
      </p:pic>
      <p:sp>
        <p:nvSpPr>
          <p:cNvPr id="89" name="Rectangle 11">
            <a:extLst>
              <a:ext uri="{FF2B5EF4-FFF2-40B4-BE49-F238E27FC236}">
                <a16:creationId xmlns:a16="http://schemas.microsoft.com/office/drawing/2014/main" id="{B30B3CE4-454F-4B88-86F5-540FF2FF2028}"/>
              </a:ext>
            </a:extLst>
          </p:cNvPr>
          <p:cNvSpPr/>
          <p:nvPr/>
        </p:nvSpPr>
        <p:spPr>
          <a:xfrm>
            <a:off x="5484804" y="2432045"/>
            <a:ext cx="1229366" cy="5945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88" b="1" dirty="0">
                <a:solidFill>
                  <a:srgbClr val="008663"/>
                </a:solidFill>
                <a:latin typeface="+mj-lt"/>
              </a:rPr>
              <a:t>Joint </a:t>
            </a:r>
            <a:br>
              <a:rPr lang="en-US" sz="1088" b="1" dirty="0">
                <a:solidFill>
                  <a:srgbClr val="008663"/>
                </a:solidFill>
                <a:latin typeface="+mj-lt"/>
              </a:rPr>
            </a:br>
            <a:r>
              <a:rPr lang="en-US" sz="1088" b="1" dirty="0">
                <a:solidFill>
                  <a:srgbClr val="008663"/>
                </a:solidFill>
                <a:latin typeface="+mj-lt"/>
              </a:rPr>
              <a:t>Digital </a:t>
            </a:r>
            <a:br>
              <a:rPr lang="en-US" sz="1088" b="1" dirty="0">
                <a:solidFill>
                  <a:srgbClr val="008663"/>
                </a:solidFill>
                <a:latin typeface="+mj-lt"/>
              </a:rPr>
            </a:br>
            <a:r>
              <a:rPr lang="en-US" sz="1088" b="1" dirty="0">
                <a:solidFill>
                  <a:srgbClr val="008663"/>
                </a:solidFill>
                <a:latin typeface="+mj-lt"/>
              </a:rPr>
              <a:t>Platform</a:t>
            </a:r>
            <a:endParaRPr lang="en-US" sz="1088" dirty="0">
              <a:solidFill>
                <a:srgbClr val="008663"/>
              </a:solidFill>
              <a:latin typeface="+mj-lt"/>
            </a:endParaRPr>
          </a:p>
        </p:txBody>
      </p:sp>
      <p:pic>
        <p:nvPicPr>
          <p:cNvPr id="90" name="Рисунок 89">
            <a:extLst>
              <a:ext uri="{FF2B5EF4-FFF2-40B4-BE49-F238E27FC236}">
                <a16:creationId xmlns:a16="http://schemas.microsoft.com/office/drawing/2014/main" id="{A214FF7B-78E5-45DF-9C65-8F207B796029}"/>
              </a:ext>
            </a:extLst>
          </p:cNvPr>
          <p:cNvPicPr>
            <a:picLocks noChangeAspect="1"/>
          </p:cNvPicPr>
          <p:nvPr/>
        </p:nvPicPr>
        <p:blipFill>
          <a:blip r:embed="rId10">
            <a:biLevel thresh="75000"/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548233">
            <a:off x="1362096" y="4496924"/>
            <a:ext cx="514655" cy="514655"/>
          </a:xfrm>
          <a:prstGeom prst="rect">
            <a:avLst/>
          </a:prstGeom>
        </p:spPr>
      </p:pic>
      <p:pic>
        <p:nvPicPr>
          <p:cNvPr id="96" name="Рисунок 95">
            <a:extLst>
              <a:ext uri="{FF2B5EF4-FFF2-40B4-BE49-F238E27FC236}">
                <a16:creationId xmlns:a16="http://schemas.microsoft.com/office/drawing/2014/main" id="{A214FF7B-78E5-45DF-9C65-8F207B796029}"/>
              </a:ext>
            </a:extLst>
          </p:cNvPr>
          <p:cNvPicPr>
            <a:picLocks noChangeAspect="1"/>
          </p:cNvPicPr>
          <p:nvPr/>
        </p:nvPicPr>
        <p:blipFill>
          <a:blip r:embed="rId10">
            <a:biLevel thresh="75000"/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548233">
            <a:off x="807332" y="4407327"/>
            <a:ext cx="514655" cy="514655"/>
          </a:xfrm>
          <a:prstGeom prst="rect">
            <a:avLst/>
          </a:prstGeom>
        </p:spPr>
      </p:pic>
      <p:pic>
        <p:nvPicPr>
          <p:cNvPr id="97" name="Рисунок 96">
            <a:extLst>
              <a:ext uri="{FF2B5EF4-FFF2-40B4-BE49-F238E27FC236}">
                <a16:creationId xmlns:a16="http://schemas.microsoft.com/office/drawing/2014/main" id="{A214FF7B-78E5-45DF-9C65-8F207B796029}"/>
              </a:ext>
            </a:extLst>
          </p:cNvPr>
          <p:cNvPicPr>
            <a:picLocks noChangeAspect="1"/>
          </p:cNvPicPr>
          <p:nvPr/>
        </p:nvPicPr>
        <p:blipFill>
          <a:blip r:embed="rId10">
            <a:biLevel thresh="75000"/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548233">
            <a:off x="245610" y="4328589"/>
            <a:ext cx="514655" cy="514655"/>
          </a:xfrm>
          <a:prstGeom prst="rect">
            <a:avLst/>
          </a:prstGeom>
        </p:spPr>
      </p:pic>
      <p:pic>
        <p:nvPicPr>
          <p:cNvPr id="98" name="Рисунок 97">
            <a:extLst>
              <a:ext uri="{FF2B5EF4-FFF2-40B4-BE49-F238E27FC236}">
                <a16:creationId xmlns:a16="http://schemas.microsoft.com/office/drawing/2014/main" id="{A214FF7B-78E5-45DF-9C65-8F207B796029}"/>
              </a:ext>
            </a:extLst>
          </p:cNvPr>
          <p:cNvPicPr>
            <a:picLocks noChangeAspect="1"/>
          </p:cNvPicPr>
          <p:nvPr/>
        </p:nvPicPr>
        <p:blipFill>
          <a:blip r:embed="rId10">
            <a:biLevel thresh="75000"/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8218055">
            <a:off x="1622788" y="5379822"/>
            <a:ext cx="514655" cy="514655"/>
          </a:xfrm>
          <a:prstGeom prst="rect">
            <a:avLst/>
          </a:prstGeom>
        </p:spPr>
      </p:pic>
      <p:pic>
        <p:nvPicPr>
          <p:cNvPr id="99" name="Рисунок 98">
            <a:extLst>
              <a:ext uri="{FF2B5EF4-FFF2-40B4-BE49-F238E27FC236}">
                <a16:creationId xmlns:a16="http://schemas.microsoft.com/office/drawing/2014/main" id="{A214FF7B-78E5-45DF-9C65-8F207B796029}"/>
              </a:ext>
            </a:extLst>
          </p:cNvPr>
          <p:cNvPicPr>
            <a:picLocks noChangeAspect="1"/>
          </p:cNvPicPr>
          <p:nvPr/>
        </p:nvPicPr>
        <p:blipFill>
          <a:blip r:embed="rId10">
            <a:biLevel thresh="75000"/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8218055">
            <a:off x="1276481" y="5851734"/>
            <a:ext cx="514655" cy="514655"/>
          </a:xfrm>
          <a:prstGeom prst="rect">
            <a:avLst/>
          </a:prstGeom>
        </p:spPr>
      </p:pic>
      <p:pic>
        <p:nvPicPr>
          <p:cNvPr id="100" name="Рисунок 99">
            <a:extLst>
              <a:ext uri="{FF2B5EF4-FFF2-40B4-BE49-F238E27FC236}">
                <a16:creationId xmlns:a16="http://schemas.microsoft.com/office/drawing/2014/main" id="{A214FF7B-78E5-45DF-9C65-8F207B796029}"/>
              </a:ext>
            </a:extLst>
          </p:cNvPr>
          <p:cNvPicPr>
            <a:picLocks noChangeAspect="1"/>
          </p:cNvPicPr>
          <p:nvPr/>
        </p:nvPicPr>
        <p:blipFill>
          <a:blip r:embed="rId10">
            <a:biLevel thresh="75000"/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8218055">
            <a:off x="949198" y="6332189"/>
            <a:ext cx="514655" cy="514655"/>
          </a:xfrm>
          <a:prstGeom prst="rect">
            <a:avLst/>
          </a:prstGeom>
        </p:spPr>
      </p:pic>
      <p:pic>
        <p:nvPicPr>
          <p:cNvPr id="101" name="Рисунок 100">
            <a:extLst>
              <a:ext uri="{FF2B5EF4-FFF2-40B4-BE49-F238E27FC236}">
                <a16:creationId xmlns:a16="http://schemas.microsoft.com/office/drawing/2014/main" id="{A214FF7B-78E5-45DF-9C65-8F207B796029}"/>
              </a:ext>
            </a:extLst>
          </p:cNvPr>
          <p:cNvPicPr>
            <a:picLocks noChangeAspect="1"/>
          </p:cNvPicPr>
          <p:nvPr/>
        </p:nvPicPr>
        <p:blipFill>
          <a:blip r:embed="rId10">
            <a:biLevel thresh="75000"/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261154">
            <a:off x="2665288" y="4827710"/>
            <a:ext cx="514655" cy="514655"/>
          </a:xfrm>
          <a:prstGeom prst="rect">
            <a:avLst/>
          </a:prstGeom>
        </p:spPr>
      </p:pic>
      <p:pic>
        <p:nvPicPr>
          <p:cNvPr id="102" name="Рисунок 101">
            <a:extLst>
              <a:ext uri="{FF2B5EF4-FFF2-40B4-BE49-F238E27FC236}">
                <a16:creationId xmlns:a16="http://schemas.microsoft.com/office/drawing/2014/main" id="{A214FF7B-78E5-45DF-9C65-8F207B796029}"/>
              </a:ext>
            </a:extLst>
          </p:cNvPr>
          <p:cNvPicPr>
            <a:picLocks noChangeAspect="1"/>
          </p:cNvPicPr>
          <p:nvPr/>
        </p:nvPicPr>
        <p:blipFill>
          <a:blip r:embed="rId10">
            <a:biLevel thresh="75000"/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5693643">
            <a:off x="1840974" y="4181407"/>
            <a:ext cx="514655" cy="514655"/>
          </a:xfrm>
          <a:prstGeom prst="rect">
            <a:avLst/>
          </a:prstGeom>
        </p:spPr>
      </p:pic>
      <p:pic>
        <p:nvPicPr>
          <p:cNvPr id="103" name="Рисунок 102">
            <a:extLst>
              <a:ext uri="{FF2B5EF4-FFF2-40B4-BE49-F238E27FC236}">
                <a16:creationId xmlns:a16="http://schemas.microsoft.com/office/drawing/2014/main" id="{B3EA83E1-36D2-4E9C-BDF0-B6539300CD70}"/>
              </a:ext>
            </a:extLst>
          </p:cNvPr>
          <p:cNvPicPr>
            <a:picLocks noChangeAspect="1"/>
          </p:cNvPicPr>
          <p:nvPr/>
        </p:nvPicPr>
        <p:blipFill>
          <a:blip r:embed="rId12">
            <a:biLevel thresh="75000"/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19990890">
            <a:off x="1210307" y="5080260"/>
            <a:ext cx="357426" cy="357426"/>
          </a:xfrm>
          <a:prstGeom prst="rect">
            <a:avLst/>
          </a:prstGeom>
        </p:spPr>
      </p:pic>
      <p:sp>
        <p:nvSpPr>
          <p:cNvPr id="68" name="Полилиния 67"/>
          <p:cNvSpPr/>
          <p:nvPr/>
        </p:nvSpPr>
        <p:spPr>
          <a:xfrm>
            <a:off x="-20045" y="5213665"/>
            <a:ext cx="2196269" cy="1563880"/>
          </a:xfrm>
          <a:custGeom>
            <a:avLst/>
            <a:gdLst>
              <a:gd name="connsiteX0" fmla="*/ 2196269 w 2196269"/>
              <a:gd name="connsiteY0" fmla="*/ 0 h 1563880"/>
              <a:gd name="connsiteX1" fmla="*/ 1435694 w 2196269"/>
              <a:gd name="connsiteY1" fmla="*/ 256374 h 1563880"/>
              <a:gd name="connsiteX2" fmla="*/ 811851 w 2196269"/>
              <a:gd name="connsiteY2" fmla="*/ 1034041 h 1563880"/>
              <a:gd name="connsiteX3" fmla="*/ 0 w 2196269"/>
              <a:gd name="connsiteY3" fmla="*/ 1563880 h 1563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6269" h="1563880">
                <a:moveTo>
                  <a:pt x="2196269" y="0"/>
                </a:moveTo>
                <a:cubicBezTo>
                  <a:pt x="1931349" y="42017"/>
                  <a:pt x="1666430" y="84034"/>
                  <a:pt x="1435694" y="256374"/>
                </a:cubicBezTo>
                <a:cubicBezTo>
                  <a:pt x="1204958" y="428714"/>
                  <a:pt x="1051133" y="816123"/>
                  <a:pt x="811851" y="1034041"/>
                </a:cubicBezTo>
                <a:cubicBezTo>
                  <a:pt x="572569" y="1251959"/>
                  <a:pt x="99701" y="1471301"/>
                  <a:pt x="0" y="1563880"/>
                </a:cubicBezTo>
              </a:path>
            </a:pathLst>
          </a:custGeom>
          <a:ln w="76200" cmpd="sng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904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105" name="Рисунок 104">
            <a:extLst>
              <a:ext uri="{FF2B5EF4-FFF2-40B4-BE49-F238E27FC236}">
                <a16:creationId xmlns:a16="http://schemas.microsoft.com/office/drawing/2014/main" id="{B3EA83E1-36D2-4E9C-BDF0-B6539300CD70}"/>
              </a:ext>
            </a:extLst>
          </p:cNvPr>
          <p:cNvPicPr>
            <a:picLocks noChangeAspect="1"/>
          </p:cNvPicPr>
          <p:nvPr/>
        </p:nvPicPr>
        <p:blipFill>
          <a:blip r:embed="rId12">
            <a:biLevel thresh="75000"/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18331374">
            <a:off x="878907" y="5353321"/>
            <a:ext cx="357426" cy="357426"/>
          </a:xfrm>
          <a:prstGeom prst="rect">
            <a:avLst/>
          </a:prstGeom>
        </p:spPr>
      </p:pic>
      <p:pic>
        <p:nvPicPr>
          <p:cNvPr id="106" name="Рисунок 105">
            <a:extLst>
              <a:ext uri="{FF2B5EF4-FFF2-40B4-BE49-F238E27FC236}">
                <a16:creationId xmlns:a16="http://schemas.microsoft.com/office/drawing/2014/main" id="{B3EA83E1-36D2-4E9C-BDF0-B6539300CD70}"/>
              </a:ext>
            </a:extLst>
          </p:cNvPr>
          <p:cNvPicPr>
            <a:picLocks noChangeAspect="1"/>
          </p:cNvPicPr>
          <p:nvPr/>
        </p:nvPicPr>
        <p:blipFill>
          <a:blip r:embed="rId12">
            <a:biLevel thresh="75000"/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18331374">
            <a:off x="645910" y="5719264"/>
            <a:ext cx="357426" cy="357426"/>
          </a:xfrm>
          <a:prstGeom prst="rect">
            <a:avLst/>
          </a:prstGeom>
        </p:spPr>
      </p:pic>
      <p:pic>
        <p:nvPicPr>
          <p:cNvPr id="107" name="Рисунок 106">
            <a:extLst>
              <a:ext uri="{FF2B5EF4-FFF2-40B4-BE49-F238E27FC236}">
                <a16:creationId xmlns:a16="http://schemas.microsoft.com/office/drawing/2014/main" id="{B3EA83E1-36D2-4E9C-BDF0-B6539300CD70}"/>
              </a:ext>
            </a:extLst>
          </p:cNvPr>
          <p:cNvPicPr>
            <a:picLocks noChangeAspect="1"/>
          </p:cNvPicPr>
          <p:nvPr/>
        </p:nvPicPr>
        <p:blipFill>
          <a:blip r:embed="rId12">
            <a:biLevel thresh="75000"/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20844854">
            <a:off x="2885732" y="3739258"/>
            <a:ext cx="357426" cy="357426"/>
          </a:xfrm>
          <a:prstGeom prst="rect">
            <a:avLst/>
          </a:prstGeom>
        </p:spPr>
      </p:pic>
      <p:pic>
        <p:nvPicPr>
          <p:cNvPr id="108" name="Рисунок 107">
            <a:extLst>
              <a:ext uri="{FF2B5EF4-FFF2-40B4-BE49-F238E27FC236}">
                <a16:creationId xmlns:a16="http://schemas.microsoft.com/office/drawing/2014/main" id="{B3EA83E1-36D2-4E9C-BDF0-B6539300CD70}"/>
              </a:ext>
            </a:extLst>
          </p:cNvPr>
          <p:cNvPicPr>
            <a:picLocks noChangeAspect="1"/>
          </p:cNvPicPr>
          <p:nvPr/>
        </p:nvPicPr>
        <p:blipFill>
          <a:blip r:embed="rId12">
            <a:biLevel thresh="75000"/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20844854">
            <a:off x="2518734" y="3830555"/>
            <a:ext cx="357426" cy="357426"/>
          </a:xfrm>
          <a:prstGeom prst="rect">
            <a:avLst/>
          </a:prstGeom>
        </p:spPr>
      </p:pic>
      <p:pic>
        <p:nvPicPr>
          <p:cNvPr id="109" name="Рисунок 108">
            <a:extLst>
              <a:ext uri="{FF2B5EF4-FFF2-40B4-BE49-F238E27FC236}">
                <a16:creationId xmlns:a16="http://schemas.microsoft.com/office/drawing/2014/main" id="{B3EA83E1-36D2-4E9C-BDF0-B6539300CD70}"/>
              </a:ext>
            </a:extLst>
          </p:cNvPr>
          <p:cNvPicPr>
            <a:picLocks noChangeAspect="1"/>
          </p:cNvPicPr>
          <p:nvPr/>
        </p:nvPicPr>
        <p:blipFill>
          <a:blip r:embed="rId14">
            <a:biLevel thresh="75000"/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rightnessContrast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622661" y="2480663"/>
            <a:ext cx="380832" cy="380832"/>
          </a:xfrm>
          <a:prstGeom prst="rect">
            <a:avLst/>
          </a:prstGeom>
        </p:spPr>
      </p:pic>
      <p:pic>
        <p:nvPicPr>
          <p:cNvPr id="110" name="Рисунок 109">
            <a:extLst>
              <a:ext uri="{FF2B5EF4-FFF2-40B4-BE49-F238E27FC236}">
                <a16:creationId xmlns:a16="http://schemas.microsoft.com/office/drawing/2014/main" id="{A2FE7B00-220F-410C-BA2E-D8448A3A00C9}"/>
              </a:ext>
            </a:extLst>
          </p:cNvPr>
          <p:cNvPicPr>
            <a:picLocks noChangeAspect="1"/>
          </p:cNvPicPr>
          <p:nvPr/>
        </p:nvPicPr>
        <p:blipFill>
          <a:blip r:embed="rId16">
            <a:biLevel thresh="75000"/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340771" y="5248279"/>
            <a:ext cx="332423" cy="332423"/>
          </a:xfrm>
          <a:prstGeom prst="rect">
            <a:avLst/>
          </a:prstGeom>
        </p:spPr>
      </p:pic>
      <p:pic>
        <p:nvPicPr>
          <p:cNvPr id="111" name="Рисунок 110">
            <a:extLst>
              <a:ext uri="{FF2B5EF4-FFF2-40B4-BE49-F238E27FC236}">
                <a16:creationId xmlns:a16="http://schemas.microsoft.com/office/drawing/2014/main" id="{A2FE7B00-220F-410C-BA2E-D8448A3A00C9}"/>
              </a:ext>
            </a:extLst>
          </p:cNvPr>
          <p:cNvPicPr>
            <a:picLocks noChangeAspect="1"/>
          </p:cNvPicPr>
          <p:nvPr/>
        </p:nvPicPr>
        <p:blipFill>
          <a:blip r:embed="rId16">
            <a:biLevel thresh="75000"/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973900" y="3467079"/>
            <a:ext cx="332423" cy="332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9096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12</a:t>
            </a:fld>
            <a:endParaRPr lang="ru-RU"/>
          </a:p>
        </p:txBody>
      </p:sp>
      <p:sp>
        <p:nvSpPr>
          <p:cNvPr id="11" name="Полилиния 10"/>
          <p:cNvSpPr/>
          <p:nvPr/>
        </p:nvSpPr>
        <p:spPr>
          <a:xfrm>
            <a:off x="6718423" y="331336"/>
            <a:ext cx="4337812" cy="438410"/>
          </a:xfrm>
          <a:custGeom>
            <a:avLst/>
            <a:gdLst>
              <a:gd name="connsiteX0" fmla="*/ 76200 w 3352800"/>
              <a:gd name="connsiteY0" fmla="*/ 0 h 438150"/>
              <a:gd name="connsiteX1" fmla="*/ 3352800 w 3352800"/>
              <a:gd name="connsiteY1" fmla="*/ 9525 h 438150"/>
              <a:gd name="connsiteX2" fmla="*/ 3352800 w 3352800"/>
              <a:gd name="connsiteY2" fmla="*/ 438150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52800"/>
              <a:gd name="connsiteY0" fmla="*/ 0 h 438150"/>
              <a:gd name="connsiteX1" fmla="*/ 3343275 w 3352800"/>
              <a:gd name="connsiteY1" fmla="*/ 0 h 438150"/>
              <a:gd name="connsiteX2" fmla="*/ 3352800 w 3352800"/>
              <a:gd name="connsiteY2" fmla="*/ 438150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43275"/>
              <a:gd name="connsiteY0" fmla="*/ 0 h 438150"/>
              <a:gd name="connsiteX1" fmla="*/ 3343275 w 3343275"/>
              <a:gd name="connsiteY1" fmla="*/ 0 h 438150"/>
              <a:gd name="connsiteX2" fmla="*/ 3333750 w 3343275"/>
              <a:gd name="connsiteY2" fmla="*/ 438150 h 438150"/>
              <a:gd name="connsiteX3" fmla="*/ 0 w 3343275"/>
              <a:gd name="connsiteY3" fmla="*/ 438150 h 438150"/>
              <a:gd name="connsiteX4" fmla="*/ 76200 w 3343275"/>
              <a:gd name="connsiteY4" fmla="*/ 0 h 438150"/>
              <a:gd name="connsiteX0" fmla="*/ 76200 w 3352800"/>
              <a:gd name="connsiteY0" fmla="*/ 0 h 438150"/>
              <a:gd name="connsiteX1" fmla="*/ 3343275 w 3352800"/>
              <a:gd name="connsiteY1" fmla="*/ 0 h 438150"/>
              <a:gd name="connsiteX2" fmla="*/ 3352800 w 3352800"/>
              <a:gd name="connsiteY2" fmla="*/ 428625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43275"/>
              <a:gd name="connsiteY0" fmla="*/ 0 h 447675"/>
              <a:gd name="connsiteX1" fmla="*/ 3343275 w 3343275"/>
              <a:gd name="connsiteY1" fmla="*/ 0 h 447675"/>
              <a:gd name="connsiteX2" fmla="*/ 3333750 w 3343275"/>
              <a:gd name="connsiteY2" fmla="*/ 447675 h 447675"/>
              <a:gd name="connsiteX3" fmla="*/ 0 w 3343275"/>
              <a:gd name="connsiteY3" fmla="*/ 438150 h 447675"/>
              <a:gd name="connsiteX4" fmla="*/ 76200 w 3343275"/>
              <a:gd name="connsiteY4" fmla="*/ 0 h 447675"/>
              <a:gd name="connsiteX0" fmla="*/ 76200 w 3343275"/>
              <a:gd name="connsiteY0" fmla="*/ 0 h 438150"/>
              <a:gd name="connsiteX1" fmla="*/ 3343275 w 3343275"/>
              <a:gd name="connsiteY1" fmla="*/ 0 h 438150"/>
              <a:gd name="connsiteX2" fmla="*/ 3343275 w 3343275"/>
              <a:gd name="connsiteY2" fmla="*/ 438150 h 438150"/>
              <a:gd name="connsiteX3" fmla="*/ 0 w 3343275"/>
              <a:gd name="connsiteY3" fmla="*/ 438150 h 438150"/>
              <a:gd name="connsiteX4" fmla="*/ 76200 w 3343275"/>
              <a:gd name="connsiteY4" fmla="*/ 0 h 438150"/>
              <a:gd name="connsiteX0" fmla="*/ 144439 w 3411514"/>
              <a:gd name="connsiteY0" fmla="*/ 0 h 438150"/>
              <a:gd name="connsiteX1" fmla="*/ 3411514 w 3411514"/>
              <a:gd name="connsiteY1" fmla="*/ 0 h 438150"/>
              <a:gd name="connsiteX2" fmla="*/ 3411514 w 3411514"/>
              <a:gd name="connsiteY2" fmla="*/ 438150 h 438150"/>
              <a:gd name="connsiteX3" fmla="*/ 0 w 3411514"/>
              <a:gd name="connsiteY3" fmla="*/ 438150 h 438150"/>
              <a:gd name="connsiteX4" fmla="*/ 144439 w 3411514"/>
              <a:gd name="connsiteY4" fmla="*/ 0 h 438150"/>
              <a:gd name="connsiteX0" fmla="*/ 117143 w 3384218"/>
              <a:gd name="connsiteY0" fmla="*/ 0 h 438150"/>
              <a:gd name="connsiteX1" fmla="*/ 3384218 w 3384218"/>
              <a:gd name="connsiteY1" fmla="*/ 0 h 438150"/>
              <a:gd name="connsiteX2" fmla="*/ 3384218 w 3384218"/>
              <a:gd name="connsiteY2" fmla="*/ 438150 h 438150"/>
              <a:gd name="connsiteX3" fmla="*/ 0 w 3384218"/>
              <a:gd name="connsiteY3" fmla="*/ 438150 h 438150"/>
              <a:gd name="connsiteX4" fmla="*/ 117143 w 3384218"/>
              <a:gd name="connsiteY4" fmla="*/ 0 h 438150"/>
              <a:gd name="connsiteX0" fmla="*/ 117143 w 4325913"/>
              <a:gd name="connsiteY0" fmla="*/ 0 h 438150"/>
              <a:gd name="connsiteX1" fmla="*/ 4325913 w 4325913"/>
              <a:gd name="connsiteY1" fmla="*/ 0 h 438150"/>
              <a:gd name="connsiteX2" fmla="*/ 3384218 w 4325913"/>
              <a:gd name="connsiteY2" fmla="*/ 438150 h 438150"/>
              <a:gd name="connsiteX3" fmla="*/ 0 w 4325913"/>
              <a:gd name="connsiteY3" fmla="*/ 438150 h 438150"/>
              <a:gd name="connsiteX4" fmla="*/ 117143 w 4325913"/>
              <a:gd name="connsiteY4" fmla="*/ 0 h 438150"/>
              <a:gd name="connsiteX0" fmla="*/ 117143 w 4325913"/>
              <a:gd name="connsiteY0" fmla="*/ 0 h 451798"/>
              <a:gd name="connsiteX1" fmla="*/ 4325913 w 4325913"/>
              <a:gd name="connsiteY1" fmla="*/ 0 h 451798"/>
              <a:gd name="connsiteX2" fmla="*/ 4312266 w 4325913"/>
              <a:gd name="connsiteY2" fmla="*/ 451798 h 451798"/>
              <a:gd name="connsiteX3" fmla="*/ 0 w 4325913"/>
              <a:gd name="connsiteY3" fmla="*/ 438150 h 451798"/>
              <a:gd name="connsiteX4" fmla="*/ 117143 w 4325913"/>
              <a:gd name="connsiteY4" fmla="*/ 0 h 451798"/>
              <a:gd name="connsiteX0" fmla="*/ 117143 w 4325914"/>
              <a:gd name="connsiteY0" fmla="*/ 0 h 438150"/>
              <a:gd name="connsiteX1" fmla="*/ 4325913 w 4325914"/>
              <a:gd name="connsiteY1" fmla="*/ 0 h 438150"/>
              <a:gd name="connsiteX2" fmla="*/ 4325914 w 4325914"/>
              <a:gd name="connsiteY2" fmla="*/ 438150 h 438150"/>
              <a:gd name="connsiteX3" fmla="*/ 0 w 4325914"/>
              <a:gd name="connsiteY3" fmla="*/ 438150 h 438150"/>
              <a:gd name="connsiteX4" fmla="*/ 117143 w 4325914"/>
              <a:gd name="connsiteY4" fmla="*/ 0 h 438150"/>
              <a:gd name="connsiteX0" fmla="*/ 117143 w 4339562"/>
              <a:gd name="connsiteY0" fmla="*/ 0 h 451797"/>
              <a:gd name="connsiteX1" fmla="*/ 4325913 w 4339562"/>
              <a:gd name="connsiteY1" fmla="*/ 0 h 451797"/>
              <a:gd name="connsiteX2" fmla="*/ 4339562 w 4339562"/>
              <a:gd name="connsiteY2" fmla="*/ 451797 h 451797"/>
              <a:gd name="connsiteX3" fmla="*/ 0 w 4339562"/>
              <a:gd name="connsiteY3" fmla="*/ 438150 h 451797"/>
              <a:gd name="connsiteX4" fmla="*/ 117143 w 4339562"/>
              <a:gd name="connsiteY4" fmla="*/ 0 h 451797"/>
              <a:gd name="connsiteX0" fmla="*/ 117143 w 4325913"/>
              <a:gd name="connsiteY0" fmla="*/ 0 h 451797"/>
              <a:gd name="connsiteX1" fmla="*/ 4325913 w 4325913"/>
              <a:gd name="connsiteY1" fmla="*/ 0 h 451797"/>
              <a:gd name="connsiteX2" fmla="*/ 4312266 w 4325913"/>
              <a:gd name="connsiteY2" fmla="*/ 451797 h 451797"/>
              <a:gd name="connsiteX3" fmla="*/ 0 w 4325913"/>
              <a:gd name="connsiteY3" fmla="*/ 438150 h 451797"/>
              <a:gd name="connsiteX4" fmla="*/ 117143 w 4325913"/>
              <a:gd name="connsiteY4" fmla="*/ 0 h 451797"/>
              <a:gd name="connsiteX0" fmla="*/ 117143 w 4325914"/>
              <a:gd name="connsiteY0" fmla="*/ 0 h 438150"/>
              <a:gd name="connsiteX1" fmla="*/ 4325913 w 4325914"/>
              <a:gd name="connsiteY1" fmla="*/ 0 h 438150"/>
              <a:gd name="connsiteX2" fmla="*/ 4325914 w 4325914"/>
              <a:gd name="connsiteY2" fmla="*/ 424502 h 438150"/>
              <a:gd name="connsiteX3" fmla="*/ 0 w 4325914"/>
              <a:gd name="connsiteY3" fmla="*/ 438150 h 438150"/>
              <a:gd name="connsiteX4" fmla="*/ 117143 w 4325914"/>
              <a:gd name="connsiteY4" fmla="*/ 0 h 438150"/>
              <a:gd name="connsiteX0" fmla="*/ 117143 w 4325913"/>
              <a:gd name="connsiteY0" fmla="*/ 0 h 438409"/>
              <a:gd name="connsiteX1" fmla="*/ 4325913 w 4325913"/>
              <a:gd name="connsiteY1" fmla="*/ 0 h 438409"/>
              <a:gd name="connsiteX2" fmla="*/ 4318960 w 4325913"/>
              <a:gd name="connsiteY2" fmla="*/ 438409 h 438409"/>
              <a:gd name="connsiteX3" fmla="*/ 0 w 4325913"/>
              <a:gd name="connsiteY3" fmla="*/ 438150 h 438409"/>
              <a:gd name="connsiteX4" fmla="*/ 117143 w 4325913"/>
              <a:gd name="connsiteY4" fmla="*/ 0 h 438409"/>
              <a:gd name="connsiteX0" fmla="*/ 154850 w 4325913"/>
              <a:gd name="connsiteY0" fmla="*/ 9427 h 438409"/>
              <a:gd name="connsiteX1" fmla="*/ 4325913 w 4325913"/>
              <a:gd name="connsiteY1" fmla="*/ 0 h 438409"/>
              <a:gd name="connsiteX2" fmla="*/ 4318960 w 4325913"/>
              <a:gd name="connsiteY2" fmla="*/ 438409 h 438409"/>
              <a:gd name="connsiteX3" fmla="*/ 0 w 4325913"/>
              <a:gd name="connsiteY3" fmla="*/ 438150 h 438409"/>
              <a:gd name="connsiteX4" fmla="*/ 154850 w 4325913"/>
              <a:gd name="connsiteY4" fmla="*/ 9427 h 438409"/>
              <a:gd name="connsiteX0" fmla="*/ 117143 w 4288206"/>
              <a:gd name="connsiteY0" fmla="*/ 9427 h 438409"/>
              <a:gd name="connsiteX1" fmla="*/ 4288206 w 4288206"/>
              <a:gd name="connsiteY1" fmla="*/ 0 h 438409"/>
              <a:gd name="connsiteX2" fmla="*/ 4281253 w 4288206"/>
              <a:gd name="connsiteY2" fmla="*/ 438409 h 438409"/>
              <a:gd name="connsiteX3" fmla="*/ 0 w 4288206"/>
              <a:gd name="connsiteY3" fmla="*/ 428723 h 438409"/>
              <a:gd name="connsiteX4" fmla="*/ 117143 w 4288206"/>
              <a:gd name="connsiteY4" fmla="*/ 9427 h 438409"/>
              <a:gd name="connsiteX0" fmla="*/ 126570 w 4288206"/>
              <a:gd name="connsiteY0" fmla="*/ 0 h 438409"/>
              <a:gd name="connsiteX1" fmla="*/ 4288206 w 4288206"/>
              <a:gd name="connsiteY1" fmla="*/ 0 h 438409"/>
              <a:gd name="connsiteX2" fmla="*/ 4281253 w 4288206"/>
              <a:gd name="connsiteY2" fmla="*/ 438409 h 438409"/>
              <a:gd name="connsiteX3" fmla="*/ 0 w 4288206"/>
              <a:gd name="connsiteY3" fmla="*/ 428723 h 438409"/>
              <a:gd name="connsiteX4" fmla="*/ 126570 w 4288206"/>
              <a:gd name="connsiteY4" fmla="*/ 0 h 438409"/>
              <a:gd name="connsiteX0" fmla="*/ 107716 w 4269352"/>
              <a:gd name="connsiteY0" fmla="*/ 0 h 438409"/>
              <a:gd name="connsiteX1" fmla="*/ 4269352 w 4269352"/>
              <a:gd name="connsiteY1" fmla="*/ 0 h 438409"/>
              <a:gd name="connsiteX2" fmla="*/ 4262399 w 4269352"/>
              <a:gd name="connsiteY2" fmla="*/ 438409 h 438409"/>
              <a:gd name="connsiteX3" fmla="*/ 0 w 4269352"/>
              <a:gd name="connsiteY3" fmla="*/ 428723 h 438409"/>
              <a:gd name="connsiteX4" fmla="*/ 107716 w 4269352"/>
              <a:gd name="connsiteY4" fmla="*/ 0 h 438409"/>
              <a:gd name="connsiteX0" fmla="*/ 126569 w 4288205"/>
              <a:gd name="connsiteY0" fmla="*/ 0 h 438409"/>
              <a:gd name="connsiteX1" fmla="*/ 4288205 w 4288205"/>
              <a:gd name="connsiteY1" fmla="*/ 0 h 438409"/>
              <a:gd name="connsiteX2" fmla="*/ 4281252 w 4288205"/>
              <a:gd name="connsiteY2" fmla="*/ 438409 h 438409"/>
              <a:gd name="connsiteX3" fmla="*/ 0 w 4288205"/>
              <a:gd name="connsiteY3" fmla="*/ 428723 h 438409"/>
              <a:gd name="connsiteX4" fmla="*/ 126569 w 4288205"/>
              <a:gd name="connsiteY4" fmla="*/ 0 h 438409"/>
              <a:gd name="connsiteX0" fmla="*/ 126569 w 4288205"/>
              <a:gd name="connsiteY0" fmla="*/ 0 h 438409"/>
              <a:gd name="connsiteX1" fmla="*/ 4288205 w 4288205"/>
              <a:gd name="connsiteY1" fmla="*/ 0 h 438409"/>
              <a:gd name="connsiteX2" fmla="*/ 4281252 w 4288205"/>
              <a:gd name="connsiteY2" fmla="*/ 438409 h 438409"/>
              <a:gd name="connsiteX3" fmla="*/ 0 w 4288205"/>
              <a:gd name="connsiteY3" fmla="*/ 428723 h 438409"/>
              <a:gd name="connsiteX4" fmla="*/ 126569 w 4288205"/>
              <a:gd name="connsiteY4" fmla="*/ 0 h 438409"/>
              <a:gd name="connsiteX0" fmla="*/ 135995 w 4297631"/>
              <a:gd name="connsiteY0" fmla="*/ 0 h 438409"/>
              <a:gd name="connsiteX1" fmla="*/ 4297631 w 4297631"/>
              <a:gd name="connsiteY1" fmla="*/ 0 h 438409"/>
              <a:gd name="connsiteX2" fmla="*/ 4290678 w 4297631"/>
              <a:gd name="connsiteY2" fmla="*/ 438409 h 438409"/>
              <a:gd name="connsiteX3" fmla="*/ 0 w 4297631"/>
              <a:gd name="connsiteY3" fmla="*/ 438150 h 438409"/>
              <a:gd name="connsiteX4" fmla="*/ 135995 w 4297631"/>
              <a:gd name="connsiteY4" fmla="*/ 0 h 438409"/>
              <a:gd name="connsiteX0" fmla="*/ 135995 w 4309531"/>
              <a:gd name="connsiteY0" fmla="*/ 0 h 438150"/>
              <a:gd name="connsiteX1" fmla="*/ 4297631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16484"/>
              <a:gd name="connsiteY0" fmla="*/ 0 h 438150"/>
              <a:gd name="connsiteX1" fmla="*/ 4316484 w 4316484"/>
              <a:gd name="connsiteY1" fmla="*/ 0 h 438150"/>
              <a:gd name="connsiteX2" fmla="*/ 4309531 w 4316484"/>
              <a:gd name="connsiteY2" fmla="*/ 428983 h 438150"/>
              <a:gd name="connsiteX3" fmla="*/ 0 w 4316484"/>
              <a:gd name="connsiteY3" fmla="*/ 438150 h 438150"/>
              <a:gd name="connsiteX4" fmla="*/ 135995 w 4316484"/>
              <a:gd name="connsiteY4" fmla="*/ 0 h 438150"/>
              <a:gd name="connsiteX0" fmla="*/ 135995 w 4309531"/>
              <a:gd name="connsiteY0" fmla="*/ 0 h 438150"/>
              <a:gd name="connsiteX1" fmla="*/ 4307057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09531"/>
              <a:gd name="connsiteY0" fmla="*/ 0 h 438150"/>
              <a:gd name="connsiteX1" fmla="*/ 4307057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07057"/>
              <a:gd name="connsiteY0" fmla="*/ 0 h 438410"/>
              <a:gd name="connsiteX1" fmla="*/ 4307057 w 4307057"/>
              <a:gd name="connsiteY1" fmla="*/ 0 h 438410"/>
              <a:gd name="connsiteX2" fmla="*/ 4300104 w 4307057"/>
              <a:gd name="connsiteY2" fmla="*/ 438410 h 438410"/>
              <a:gd name="connsiteX3" fmla="*/ 0 w 4307057"/>
              <a:gd name="connsiteY3" fmla="*/ 438150 h 438410"/>
              <a:gd name="connsiteX4" fmla="*/ 135995 w 4307057"/>
              <a:gd name="connsiteY4" fmla="*/ 0 h 438410"/>
              <a:gd name="connsiteX0" fmla="*/ 135995 w 4300104"/>
              <a:gd name="connsiteY0" fmla="*/ 0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135995 w 4300104"/>
              <a:gd name="connsiteY4" fmla="*/ 0 h 438410"/>
              <a:gd name="connsiteX0" fmla="*/ 88861 w 4300104"/>
              <a:gd name="connsiteY0" fmla="*/ 9427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88861 w 4300104"/>
              <a:gd name="connsiteY4" fmla="*/ 9427 h 438410"/>
              <a:gd name="connsiteX0" fmla="*/ 88861 w 4300104"/>
              <a:gd name="connsiteY0" fmla="*/ 9427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88861 w 4300104"/>
              <a:gd name="connsiteY4" fmla="*/ 9427 h 438410"/>
              <a:gd name="connsiteX0" fmla="*/ 98288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98288 w 4309531"/>
              <a:gd name="connsiteY4" fmla="*/ 9427 h 438410"/>
              <a:gd name="connsiteX0" fmla="*/ 98288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98288 w 4309531"/>
              <a:gd name="connsiteY4" fmla="*/ 9427 h 438410"/>
              <a:gd name="connsiteX0" fmla="*/ 79434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9427 h 438410"/>
              <a:gd name="connsiteX0" fmla="*/ 79434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9427 h 438410"/>
              <a:gd name="connsiteX0" fmla="*/ 79434 w 4309531"/>
              <a:gd name="connsiteY0" fmla="*/ 4832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4832 h 438410"/>
              <a:gd name="connsiteX0" fmla="*/ 88624 w 4309531"/>
              <a:gd name="connsiteY0" fmla="*/ 4832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88624 w 4309531"/>
              <a:gd name="connsiteY4" fmla="*/ 4832 h 438410"/>
              <a:gd name="connsiteX0" fmla="*/ 74839 w 4309531"/>
              <a:gd name="connsiteY0" fmla="*/ 23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4839 w 4309531"/>
              <a:gd name="connsiteY4" fmla="*/ 237 h 438410"/>
              <a:gd name="connsiteX0" fmla="*/ 103120 w 4337812"/>
              <a:gd name="connsiteY0" fmla="*/ 237 h 438410"/>
              <a:gd name="connsiteX1" fmla="*/ 4335712 w 4337812"/>
              <a:gd name="connsiteY1" fmla="*/ 0 h 438410"/>
              <a:gd name="connsiteX2" fmla="*/ 4337812 w 4337812"/>
              <a:gd name="connsiteY2" fmla="*/ 438410 h 438410"/>
              <a:gd name="connsiteX3" fmla="*/ 0 w 4337812"/>
              <a:gd name="connsiteY3" fmla="*/ 428723 h 438410"/>
              <a:gd name="connsiteX4" fmla="*/ 103120 w 4337812"/>
              <a:gd name="connsiteY4" fmla="*/ 237 h 438410"/>
              <a:gd name="connsiteX0" fmla="*/ 103120 w 4337812"/>
              <a:gd name="connsiteY0" fmla="*/ 237 h 447577"/>
              <a:gd name="connsiteX1" fmla="*/ 4335712 w 4337812"/>
              <a:gd name="connsiteY1" fmla="*/ 0 h 447577"/>
              <a:gd name="connsiteX2" fmla="*/ 4337812 w 4337812"/>
              <a:gd name="connsiteY2" fmla="*/ 438410 h 447577"/>
              <a:gd name="connsiteX3" fmla="*/ 0 w 4337812"/>
              <a:gd name="connsiteY3" fmla="*/ 447577 h 447577"/>
              <a:gd name="connsiteX4" fmla="*/ 103120 w 4337812"/>
              <a:gd name="connsiteY4" fmla="*/ 237 h 447577"/>
              <a:gd name="connsiteX0" fmla="*/ 103120 w 4337812"/>
              <a:gd name="connsiteY0" fmla="*/ 237 h 447577"/>
              <a:gd name="connsiteX1" fmla="*/ 4335712 w 4337812"/>
              <a:gd name="connsiteY1" fmla="*/ 0 h 447577"/>
              <a:gd name="connsiteX2" fmla="*/ 4337812 w 4337812"/>
              <a:gd name="connsiteY2" fmla="*/ 438410 h 447577"/>
              <a:gd name="connsiteX3" fmla="*/ 0 w 4337812"/>
              <a:gd name="connsiteY3" fmla="*/ 447577 h 447577"/>
              <a:gd name="connsiteX4" fmla="*/ 103120 w 4337812"/>
              <a:gd name="connsiteY4" fmla="*/ 237 h 447577"/>
              <a:gd name="connsiteX0" fmla="*/ 103120 w 4337812"/>
              <a:gd name="connsiteY0" fmla="*/ 237 h 438410"/>
              <a:gd name="connsiteX1" fmla="*/ 4335712 w 4337812"/>
              <a:gd name="connsiteY1" fmla="*/ 0 h 438410"/>
              <a:gd name="connsiteX2" fmla="*/ 4337812 w 4337812"/>
              <a:gd name="connsiteY2" fmla="*/ 438410 h 438410"/>
              <a:gd name="connsiteX3" fmla="*/ 0 w 4337812"/>
              <a:gd name="connsiteY3" fmla="*/ 438150 h 438410"/>
              <a:gd name="connsiteX4" fmla="*/ 103120 w 4337812"/>
              <a:gd name="connsiteY4" fmla="*/ 237 h 438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37812" h="438410">
                <a:moveTo>
                  <a:pt x="103120" y="237"/>
                </a:moveTo>
                <a:lnTo>
                  <a:pt x="4335712" y="0"/>
                </a:lnTo>
                <a:cubicBezTo>
                  <a:pt x="4335712" y="146050"/>
                  <a:pt x="4337812" y="292360"/>
                  <a:pt x="4337812" y="438410"/>
                </a:cubicBezTo>
                <a:lnTo>
                  <a:pt x="0" y="438150"/>
                </a:lnTo>
                <a:lnTo>
                  <a:pt x="103120" y="237"/>
                </a:lnTo>
                <a:close/>
              </a:path>
            </a:pathLst>
          </a:custGeom>
          <a:solidFill>
            <a:srgbClr val="3D49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chemeClr val="bg1"/>
                </a:solidFill>
                <a:latin typeface="PT Sans Narrow" panose="020B0604020202020204" charset="-52"/>
              </a:rPr>
              <a:t>DIGITAL LOGISTICS PLATFORM</a:t>
            </a:r>
            <a:endParaRPr lang="ru-RU" sz="1600" b="1" dirty="0">
              <a:solidFill>
                <a:schemeClr val="bg1"/>
              </a:solidFill>
              <a:latin typeface="PT Sans Narrow" panose="020B0604020202020204" charset="-52"/>
            </a:endParaRPr>
          </a:p>
        </p:txBody>
      </p:sp>
      <p:sp>
        <p:nvSpPr>
          <p:cNvPr id="12" name="Полилиния 11"/>
          <p:cNvSpPr/>
          <p:nvPr/>
        </p:nvSpPr>
        <p:spPr>
          <a:xfrm>
            <a:off x="659" y="331336"/>
            <a:ext cx="695325" cy="2776047"/>
          </a:xfrm>
          <a:custGeom>
            <a:avLst/>
            <a:gdLst>
              <a:gd name="connsiteX0" fmla="*/ 0 w 657225"/>
              <a:gd name="connsiteY0" fmla="*/ 0 h 2162175"/>
              <a:gd name="connsiteX1" fmla="*/ 657225 w 657225"/>
              <a:gd name="connsiteY1" fmla="*/ 9525 h 2162175"/>
              <a:gd name="connsiteX2" fmla="*/ 19050 w 657225"/>
              <a:gd name="connsiteY2" fmla="*/ 2162175 h 2162175"/>
              <a:gd name="connsiteX3" fmla="*/ 0 w 657225"/>
              <a:gd name="connsiteY3" fmla="*/ 0 h 2162175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52992"/>
              <a:gd name="connsiteX1" fmla="*/ 657225 w 657225"/>
              <a:gd name="connsiteY1" fmla="*/ 9525 h 2152992"/>
              <a:gd name="connsiteX2" fmla="*/ 0 w 657225"/>
              <a:gd name="connsiteY2" fmla="*/ 2152992 h 2152992"/>
              <a:gd name="connsiteX3" fmla="*/ 0 w 657225"/>
              <a:gd name="connsiteY3" fmla="*/ 0 h 2152992"/>
              <a:gd name="connsiteX0" fmla="*/ 0 w 657225"/>
              <a:gd name="connsiteY0" fmla="*/ 17738 h 2170730"/>
              <a:gd name="connsiteX1" fmla="*/ 657225 w 657225"/>
              <a:gd name="connsiteY1" fmla="*/ 0 h 2170730"/>
              <a:gd name="connsiteX2" fmla="*/ 0 w 657225"/>
              <a:gd name="connsiteY2" fmla="*/ 2170730 h 2170730"/>
              <a:gd name="connsiteX3" fmla="*/ 0 w 657225"/>
              <a:gd name="connsiteY3" fmla="*/ 17738 h 2170730"/>
              <a:gd name="connsiteX0" fmla="*/ 0 w 657225"/>
              <a:gd name="connsiteY0" fmla="*/ 0 h 2171168"/>
              <a:gd name="connsiteX1" fmla="*/ 657225 w 657225"/>
              <a:gd name="connsiteY1" fmla="*/ 438 h 2171168"/>
              <a:gd name="connsiteX2" fmla="*/ 0 w 657225"/>
              <a:gd name="connsiteY2" fmla="*/ 2171168 h 2171168"/>
              <a:gd name="connsiteX3" fmla="*/ 0 w 657225"/>
              <a:gd name="connsiteY3" fmla="*/ 0 h 2171168"/>
              <a:gd name="connsiteX0" fmla="*/ 0 w 695325"/>
              <a:gd name="connsiteY0" fmla="*/ 0 h 2171168"/>
              <a:gd name="connsiteX1" fmla="*/ 695325 w 695325"/>
              <a:gd name="connsiteY1" fmla="*/ 438 h 2171168"/>
              <a:gd name="connsiteX2" fmla="*/ 0 w 695325"/>
              <a:gd name="connsiteY2" fmla="*/ 2171168 h 2171168"/>
              <a:gd name="connsiteX3" fmla="*/ 0 w 695325"/>
              <a:gd name="connsiteY3" fmla="*/ 0 h 2171168"/>
              <a:gd name="connsiteX0" fmla="*/ 9525 w 704850"/>
              <a:gd name="connsiteY0" fmla="*/ 0 h 2676201"/>
              <a:gd name="connsiteX1" fmla="*/ 704850 w 704850"/>
              <a:gd name="connsiteY1" fmla="*/ 438 h 2676201"/>
              <a:gd name="connsiteX2" fmla="*/ 0 w 704850"/>
              <a:gd name="connsiteY2" fmla="*/ 2676201 h 2676201"/>
              <a:gd name="connsiteX3" fmla="*/ 9525 w 704850"/>
              <a:gd name="connsiteY3" fmla="*/ 0 h 2676201"/>
              <a:gd name="connsiteX0" fmla="*/ 0 w 695325"/>
              <a:gd name="connsiteY0" fmla="*/ 0 h 2667019"/>
              <a:gd name="connsiteX1" fmla="*/ 695325 w 695325"/>
              <a:gd name="connsiteY1" fmla="*/ 438 h 2667019"/>
              <a:gd name="connsiteX2" fmla="*/ 9525 w 695325"/>
              <a:gd name="connsiteY2" fmla="*/ 2667019 h 2667019"/>
              <a:gd name="connsiteX3" fmla="*/ 0 w 695325"/>
              <a:gd name="connsiteY3" fmla="*/ 0 h 2667019"/>
              <a:gd name="connsiteX0" fmla="*/ 0 w 695325"/>
              <a:gd name="connsiteY0" fmla="*/ 0 h 2667019"/>
              <a:gd name="connsiteX1" fmla="*/ 695325 w 695325"/>
              <a:gd name="connsiteY1" fmla="*/ 438 h 2667019"/>
              <a:gd name="connsiteX2" fmla="*/ 9525 w 695325"/>
              <a:gd name="connsiteY2" fmla="*/ 2667019 h 2667019"/>
              <a:gd name="connsiteX3" fmla="*/ 0 w 695325"/>
              <a:gd name="connsiteY3" fmla="*/ 0 h 2667019"/>
              <a:gd name="connsiteX0" fmla="*/ 0 w 695325"/>
              <a:gd name="connsiteY0" fmla="*/ 0 h 2676201"/>
              <a:gd name="connsiteX1" fmla="*/ 695325 w 695325"/>
              <a:gd name="connsiteY1" fmla="*/ 438 h 2676201"/>
              <a:gd name="connsiteX2" fmla="*/ 0 w 695325"/>
              <a:gd name="connsiteY2" fmla="*/ 2676201 h 2676201"/>
              <a:gd name="connsiteX3" fmla="*/ 0 w 695325"/>
              <a:gd name="connsiteY3" fmla="*/ 0 h 2676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325" h="2676201">
                <a:moveTo>
                  <a:pt x="0" y="0"/>
                </a:moveTo>
                <a:lnTo>
                  <a:pt x="695325" y="438"/>
                </a:lnTo>
                <a:lnTo>
                  <a:pt x="0" y="2676201"/>
                </a:lnTo>
                <a:lnTo>
                  <a:pt x="0" y="0"/>
                </a:lnTo>
                <a:close/>
              </a:path>
            </a:pathLst>
          </a:custGeom>
          <a:solidFill>
            <a:srgbClr val="9829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Полилиния 12"/>
          <p:cNvSpPr/>
          <p:nvPr/>
        </p:nvSpPr>
        <p:spPr>
          <a:xfrm>
            <a:off x="0" y="0"/>
            <a:ext cx="428625" cy="1743075"/>
          </a:xfrm>
          <a:custGeom>
            <a:avLst/>
            <a:gdLst>
              <a:gd name="connsiteX0" fmla="*/ 0 w 447675"/>
              <a:gd name="connsiteY0" fmla="*/ 0 h 1447800"/>
              <a:gd name="connsiteX1" fmla="*/ 447675 w 447675"/>
              <a:gd name="connsiteY1" fmla="*/ 0 h 1447800"/>
              <a:gd name="connsiteX2" fmla="*/ 19050 w 447675"/>
              <a:gd name="connsiteY2" fmla="*/ 1447800 h 1447800"/>
              <a:gd name="connsiteX3" fmla="*/ 0 w 447675"/>
              <a:gd name="connsiteY3" fmla="*/ 0 h 1447800"/>
              <a:gd name="connsiteX0" fmla="*/ 0 w 447675"/>
              <a:gd name="connsiteY0" fmla="*/ 0 h 1476375"/>
              <a:gd name="connsiteX1" fmla="*/ 447675 w 447675"/>
              <a:gd name="connsiteY1" fmla="*/ 0 h 1476375"/>
              <a:gd name="connsiteX2" fmla="*/ 9525 w 447675"/>
              <a:gd name="connsiteY2" fmla="*/ 1476375 h 1476375"/>
              <a:gd name="connsiteX3" fmla="*/ 0 w 447675"/>
              <a:gd name="connsiteY3" fmla="*/ 0 h 1476375"/>
              <a:gd name="connsiteX0" fmla="*/ 0 w 438150"/>
              <a:gd name="connsiteY0" fmla="*/ 28575 h 1476375"/>
              <a:gd name="connsiteX1" fmla="*/ 438150 w 438150"/>
              <a:gd name="connsiteY1" fmla="*/ 0 h 1476375"/>
              <a:gd name="connsiteX2" fmla="*/ 0 w 438150"/>
              <a:gd name="connsiteY2" fmla="*/ 1476375 h 1476375"/>
              <a:gd name="connsiteX3" fmla="*/ 0 w 438150"/>
              <a:gd name="connsiteY3" fmla="*/ 28575 h 1476375"/>
              <a:gd name="connsiteX0" fmla="*/ 9525 w 438150"/>
              <a:gd name="connsiteY0" fmla="*/ 9525 h 1476375"/>
              <a:gd name="connsiteX1" fmla="*/ 438150 w 438150"/>
              <a:gd name="connsiteY1" fmla="*/ 0 h 1476375"/>
              <a:gd name="connsiteX2" fmla="*/ 0 w 438150"/>
              <a:gd name="connsiteY2" fmla="*/ 1476375 h 1476375"/>
              <a:gd name="connsiteX3" fmla="*/ 9525 w 438150"/>
              <a:gd name="connsiteY3" fmla="*/ 9525 h 1476375"/>
              <a:gd name="connsiteX0" fmla="*/ 0 w 428625"/>
              <a:gd name="connsiteY0" fmla="*/ 9525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0 w 428625"/>
              <a:gd name="connsiteY3" fmla="*/ 9525 h 1504950"/>
              <a:gd name="connsiteX0" fmla="*/ 19050 w 428625"/>
              <a:gd name="connsiteY0" fmla="*/ 0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19050 w 428625"/>
              <a:gd name="connsiteY3" fmla="*/ 0 h 1504950"/>
              <a:gd name="connsiteX0" fmla="*/ 0 w 428625"/>
              <a:gd name="connsiteY0" fmla="*/ 0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0 w 428625"/>
              <a:gd name="connsiteY3" fmla="*/ 0 h 1504950"/>
              <a:gd name="connsiteX0" fmla="*/ 0 w 428625"/>
              <a:gd name="connsiteY0" fmla="*/ 0 h 1581150"/>
              <a:gd name="connsiteX1" fmla="*/ 428625 w 428625"/>
              <a:gd name="connsiteY1" fmla="*/ 0 h 1581150"/>
              <a:gd name="connsiteX2" fmla="*/ 0 w 428625"/>
              <a:gd name="connsiteY2" fmla="*/ 1581150 h 1581150"/>
              <a:gd name="connsiteX3" fmla="*/ 0 w 428625"/>
              <a:gd name="connsiteY3" fmla="*/ 0 h 1581150"/>
              <a:gd name="connsiteX0" fmla="*/ 0 w 428625"/>
              <a:gd name="connsiteY0" fmla="*/ 0 h 1743075"/>
              <a:gd name="connsiteX1" fmla="*/ 428625 w 428625"/>
              <a:gd name="connsiteY1" fmla="*/ 0 h 1743075"/>
              <a:gd name="connsiteX2" fmla="*/ 0 w 428625"/>
              <a:gd name="connsiteY2" fmla="*/ 1743075 h 1743075"/>
              <a:gd name="connsiteX3" fmla="*/ 0 w 428625"/>
              <a:gd name="connsiteY3" fmla="*/ 0 h 1743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8625" h="1743075">
                <a:moveTo>
                  <a:pt x="0" y="0"/>
                </a:moveTo>
                <a:lnTo>
                  <a:pt x="428625" y="0"/>
                </a:lnTo>
                <a:lnTo>
                  <a:pt x="0" y="1743075"/>
                </a:lnTo>
                <a:lnTo>
                  <a:pt x="0" y="0"/>
                </a:lnTo>
                <a:close/>
              </a:path>
            </a:pathLst>
          </a:custGeom>
          <a:solidFill>
            <a:srgbClr val="6E6B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9BACB6C0-D227-4072-897F-771631AF6269}"/>
              </a:ext>
            </a:extLst>
          </p:cNvPr>
          <p:cNvSpPr/>
          <p:nvPr/>
        </p:nvSpPr>
        <p:spPr>
          <a:xfrm>
            <a:off x="2548682" y="1335263"/>
            <a:ext cx="5832648" cy="1838791"/>
          </a:xfrm>
          <a:prstGeom prst="ellipse">
            <a:avLst/>
          </a:prstGeom>
          <a:noFill/>
          <a:ln w="222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>
              <a:solidFill>
                <a:schemeClr val="tx2">
                  <a:lumMod val="75000"/>
                </a:schemeClr>
              </a:solidFill>
              <a:latin typeface="PT Sans Narrow" panose="020B0506020203020204" pitchFamily="34" charset="-52"/>
            </a:endParaRPr>
          </a:p>
          <a:p>
            <a:pPr algn="ctr"/>
            <a:endParaRPr lang="en-US" sz="2000" b="1" dirty="0">
              <a:solidFill>
                <a:schemeClr val="tx2">
                  <a:lumMod val="75000"/>
                </a:schemeClr>
              </a:solidFill>
              <a:latin typeface="PT Sans Narrow" panose="020B0506020203020204" pitchFamily="34" charset="-52"/>
            </a:endParaRPr>
          </a:p>
          <a:p>
            <a:pPr algn="ctr"/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PT Sans Narrow" panose="020B0506020203020204" pitchFamily="34" charset="-52"/>
              </a:rPr>
              <a:t>DIGITAL LOGISTICS PLATFORM </a:t>
            </a:r>
          </a:p>
          <a:p>
            <a:pPr algn="ctr"/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PT Sans Narrow" panose="020B0506020203020204" pitchFamily="34" charset="-52"/>
              </a:rPr>
              <a:t>IS ABLE TO:</a:t>
            </a:r>
            <a:endParaRPr lang="ru-RU" sz="2000" b="1" dirty="0">
              <a:solidFill>
                <a:schemeClr val="tx2">
                  <a:lumMod val="75000"/>
                </a:schemeClr>
              </a:solidFill>
              <a:latin typeface="PT Sans Narrow" panose="020B0506020203020204" pitchFamily="34" charset="-52"/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1CE8FB90-D2C4-493E-BF1D-3B4469B2C7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07475" y="1465096"/>
            <a:ext cx="652781" cy="652781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3F3C6C84-E582-41E8-B7BF-B0D5B4A4E0AA}"/>
              </a:ext>
            </a:extLst>
          </p:cNvPr>
          <p:cNvSpPr/>
          <p:nvPr/>
        </p:nvSpPr>
        <p:spPr>
          <a:xfrm>
            <a:off x="198289" y="3672900"/>
            <a:ext cx="3298056" cy="108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Automate the logistics business processes, analyze the consumer behavior and offer the optimal decisions for the flows organization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PT Sans Narrow" panose="020B0506020203020204" pitchFamily="34" charset="-52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EAB2A773-DD34-48BF-8931-50D63FF391BC}"/>
              </a:ext>
            </a:extLst>
          </p:cNvPr>
          <p:cNvSpPr/>
          <p:nvPr/>
        </p:nvSpPr>
        <p:spPr>
          <a:xfrm>
            <a:off x="7531546" y="3662308"/>
            <a:ext cx="3298056" cy="108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Provide the cooperation during the freight transfer orders fulfillment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,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 including the exchange of the legislation significant digital docs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PT Sans Narrow" panose="020B0506020203020204" pitchFamily="34" charset="-52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7BAF01CA-67B6-467A-9F30-FE590F102BD5}"/>
              </a:ext>
            </a:extLst>
          </p:cNvPr>
          <p:cNvSpPr/>
          <p:nvPr/>
        </p:nvSpPr>
        <p:spPr>
          <a:xfrm>
            <a:off x="3815977" y="3662308"/>
            <a:ext cx="3298057" cy="108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Take into account the specific of auto, rail, water and avia types of transport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,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 the peculiarities of cargo handling at the ports and terminals, warehousing, government relation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PT Sans Narrow" panose="020B0506020203020204" pitchFamily="34" charset="-52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090F78BF-7269-4180-9D00-46B17FCBD1FC}"/>
              </a:ext>
            </a:extLst>
          </p:cNvPr>
          <p:cNvSpPr/>
          <p:nvPr/>
        </p:nvSpPr>
        <p:spPr>
          <a:xfrm>
            <a:off x="1986930" y="5329084"/>
            <a:ext cx="3298056" cy="108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Accumulate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,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structure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and analyze the large volume of data, forecast the future occasions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and minimize the risks for the participants of the logistics processes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PT Sans Narrow" panose="020B0506020203020204" pitchFamily="34" charset="-52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C02D057F-E6B3-4118-9B2F-695161617051}"/>
              </a:ext>
            </a:extLst>
          </p:cNvPr>
          <p:cNvSpPr/>
          <p:nvPr/>
        </p:nvSpPr>
        <p:spPr>
          <a:xfrm>
            <a:off x="5672855" y="5314776"/>
            <a:ext cx="3298056" cy="108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Optimize the operation of transport, terminal and warehouse assets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,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 increasing its profitability and reducing the delivery cost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PT Sans Narrow" panose="020B0506020203020204" pitchFamily="34" charset="-52"/>
            </a:endParaRPr>
          </a:p>
        </p:txBody>
      </p:sp>
      <p:cxnSp>
        <p:nvCxnSpPr>
          <p:cNvPr id="6" name="Соединительная линия уступом 5"/>
          <p:cNvCxnSpPr>
            <a:stCxn id="3" idx="3"/>
            <a:endCxn id="4" idx="0"/>
          </p:cNvCxnSpPr>
          <p:nvPr/>
        </p:nvCxnSpPr>
        <p:spPr>
          <a:xfrm rot="5400000">
            <a:off x="2241021" y="2511066"/>
            <a:ext cx="768131" cy="1555537"/>
          </a:xfrm>
          <a:prstGeom prst="bentConnector3">
            <a:avLst/>
          </a:prstGeom>
          <a:ln w="12700">
            <a:solidFill>
              <a:srgbClr val="0090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Соединительная линия уступом 7"/>
          <p:cNvCxnSpPr>
            <a:stCxn id="3" idx="5"/>
            <a:endCxn id="17" idx="0"/>
          </p:cNvCxnSpPr>
          <p:nvPr/>
        </p:nvCxnSpPr>
        <p:spPr>
          <a:xfrm rot="16200000" flipH="1">
            <a:off x="7975097" y="2456830"/>
            <a:ext cx="757539" cy="1653416"/>
          </a:xfrm>
          <a:prstGeom prst="bentConnector3">
            <a:avLst/>
          </a:prstGeom>
          <a:ln w="12700">
            <a:solidFill>
              <a:srgbClr val="0090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Соединительная линия уступом 9"/>
          <p:cNvCxnSpPr>
            <a:stCxn id="3" idx="4"/>
            <a:endCxn id="19" idx="0"/>
          </p:cNvCxnSpPr>
          <p:nvPr/>
        </p:nvCxnSpPr>
        <p:spPr>
          <a:xfrm rot="5400000">
            <a:off x="3472967" y="3337045"/>
            <a:ext cx="2155030" cy="1829048"/>
          </a:xfrm>
          <a:prstGeom prst="bentConnector3">
            <a:avLst>
              <a:gd name="adj1" fmla="val 13315"/>
            </a:avLst>
          </a:prstGeom>
          <a:ln w="12700">
            <a:solidFill>
              <a:srgbClr val="0090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Соединительная линия уступом 21"/>
          <p:cNvCxnSpPr>
            <a:stCxn id="3" idx="4"/>
            <a:endCxn id="20" idx="0"/>
          </p:cNvCxnSpPr>
          <p:nvPr/>
        </p:nvCxnSpPr>
        <p:spPr>
          <a:xfrm rot="16200000" flipH="1">
            <a:off x="5323083" y="3315976"/>
            <a:ext cx="2140722" cy="1856877"/>
          </a:xfrm>
          <a:prstGeom prst="bentConnector3">
            <a:avLst>
              <a:gd name="adj1" fmla="val 13515"/>
            </a:avLst>
          </a:prstGeom>
          <a:ln w="12700">
            <a:solidFill>
              <a:srgbClr val="0090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>
            <a:stCxn id="3" idx="4"/>
            <a:endCxn id="18" idx="0"/>
          </p:cNvCxnSpPr>
          <p:nvPr/>
        </p:nvCxnSpPr>
        <p:spPr>
          <a:xfrm>
            <a:off x="5465006" y="3174054"/>
            <a:ext cx="0" cy="488254"/>
          </a:xfrm>
          <a:prstGeom prst="line">
            <a:avLst/>
          </a:prstGeom>
          <a:ln w="12700">
            <a:solidFill>
              <a:srgbClr val="0090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640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12B70BA-48B3-4D38-A32A-B6F0AD2F41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39" y="85338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12B70BA-48B3-4D38-A32A-B6F0AD2F41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39" y="853381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126CF69-EADD-492A-ADBE-A9599BD23AC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1941"/>
            <a:ext cx="143929" cy="143929"/>
          </a:xfrm>
          <a:prstGeom prst="rect">
            <a:avLst/>
          </a:prstGeom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813" b="1" dirty="0" err="1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1" name="Заголовок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LOGISTICS PLATFORM </a:t>
            </a:r>
            <a:endParaRPr lang="ru-RU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FAF8423-9A5F-4BB4-AD33-0A6894A21D15}"/>
              </a:ext>
            </a:extLst>
          </p:cNvPr>
          <p:cNvSpPr/>
          <p:nvPr/>
        </p:nvSpPr>
        <p:spPr>
          <a:xfrm>
            <a:off x="695984" y="4100235"/>
            <a:ext cx="4680000" cy="30960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9061" indent="-259061">
              <a:spcBef>
                <a:spcPts val="544"/>
              </a:spcBef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Search of the optimal routes</a:t>
            </a:r>
            <a:r>
              <a:rPr 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using the technologies of machine learning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(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the route, considering the terminal points, stuffing, type of property, container runoff, geographical effectiveness and so on)</a:t>
            </a: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  <a:latin typeface="PT Sans Narrow" panose="020B0506020203020204" pitchFamily="34" charset="-52"/>
            </a:endParaRPr>
          </a:p>
          <a:p>
            <a:pPr marL="259061" indent="-259061">
              <a:spcBef>
                <a:spcPts val="544"/>
              </a:spcBef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Interfaces for the forwarders</a:t>
            </a:r>
            <a:r>
              <a:rPr 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and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the clients</a:t>
            </a:r>
          </a:p>
          <a:p>
            <a:pPr marL="259061" indent="-259061">
              <a:spcBef>
                <a:spcPts val="544"/>
              </a:spcBef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Integration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with the governmental informational and supply chain management systems of the clients</a:t>
            </a:r>
          </a:p>
          <a:p>
            <a:pPr marL="259061" indent="-259061">
              <a:spcBef>
                <a:spcPts val="544"/>
              </a:spcBef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Digital document circulation</a:t>
            </a:r>
            <a:endParaRPr lang="ru-RU" sz="1600" b="1" dirty="0">
              <a:solidFill>
                <a:schemeClr val="tx1">
                  <a:lumMod val="75000"/>
                  <a:lumOff val="25000"/>
                </a:schemeClr>
              </a:solidFill>
              <a:latin typeface="PT Sans Narrow" panose="020B0506020203020204" pitchFamily="34" charset="-52"/>
            </a:endParaRPr>
          </a:p>
          <a:p>
            <a:pPr marL="259061" indent="-259061">
              <a:spcBef>
                <a:spcPts val="544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Cooperation with the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customs</a:t>
            </a:r>
            <a:endParaRPr lang="ru-RU" sz="1600" b="1" dirty="0">
              <a:solidFill>
                <a:schemeClr val="tx1">
                  <a:lumMod val="75000"/>
                  <a:lumOff val="25000"/>
                </a:schemeClr>
              </a:solidFill>
              <a:latin typeface="PT Sans Narrow" panose="020B0506020203020204" pitchFamily="34" charset="-52"/>
            </a:endParaRPr>
          </a:p>
          <a:p>
            <a:pPr marL="259061" indent="-259061">
              <a:spcBef>
                <a:spcPts val="544"/>
              </a:spcBef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Management of the cargo deliveries</a:t>
            </a:r>
            <a:r>
              <a:rPr 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dry port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 –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warehouse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,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warehouse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 –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destination point</a:t>
            </a: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  <a:latin typeface="PT Sans Narrow" panose="020B0506020203020204" pitchFamily="34" charset="-52"/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26DF4A86-D1F1-4BFB-A629-6B511ABE4D6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553159" y="3213367"/>
            <a:ext cx="829032" cy="829032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588609C0-9685-46AE-AC6A-8C8DEBBF080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369648" y="3213367"/>
            <a:ext cx="829032" cy="829032"/>
          </a:xfrm>
          <a:prstGeom prst="rect">
            <a:avLst/>
          </a:prstGeom>
        </p:spPr>
      </p:pic>
      <p:sp>
        <p:nvSpPr>
          <p:cNvPr id="18" name="Прямоугольник 137">
            <a:extLst>
              <a:ext uri="{FF2B5EF4-FFF2-40B4-BE49-F238E27FC236}">
                <a16:creationId xmlns:a16="http://schemas.microsoft.com/office/drawing/2014/main" id="{8623250A-91BB-4FD4-A589-308CF1ED3D07}"/>
              </a:ext>
            </a:extLst>
          </p:cNvPr>
          <p:cNvSpPr/>
          <p:nvPr/>
        </p:nvSpPr>
        <p:spPr>
          <a:xfrm>
            <a:off x="4421777" y="3224322"/>
            <a:ext cx="2210209" cy="3044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98051">
              <a:lnSpc>
                <a:spcPct val="95000"/>
              </a:lnSpc>
              <a:spcAft>
                <a:spcPts val="272"/>
              </a:spcAft>
            </a:pPr>
            <a:r>
              <a:rPr lang="en-US" sz="1451" b="1" dirty="0">
                <a:solidFill>
                  <a:srgbClr val="3D497C"/>
                </a:solidFill>
                <a:latin typeface="PT Sans Narrow" panose="020B0506020203020204" pitchFamily="34" charset="-52"/>
                <a:cs typeface="Angsana New" pitchFamily="18" charset="-34"/>
              </a:rPr>
              <a:t>Joint digital logistics platform</a:t>
            </a:r>
            <a:endParaRPr lang="ru-RU" sz="1451" b="1" dirty="0">
              <a:solidFill>
                <a:srgbClr val="3D497C"/>
              </a:solidFill>
              <a:latin typeface="PT Sans Narrow" panose="020B0506020203020204" pitchFamily="34" charset="-52"/>
              <a:cs typeface="Angsana New" pitchFamily="18" charset="-34"/>
            </a:endParaRPr>
          </a:p>
        </p:txBody>
      </p:sp>
      <p:pic>
        <p:nvPicPr>
          <p:cNvPr id="19" name="Рисунок 127">
            <a:extLst>
              <a:ext uri="{FF2B5EF4-FFF2-40B4-BE49-F238E27FC236}">
                <a16:creationId xmlns:a16="http://schemas.microsoft.com/office/drawing/2014/main" id="{B910FE6C-F166-4822-8AFB-4E8A340DB99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077648" y="2245762"/>
            <a:ext cx="898467" cy="898467"/>
          </a:xfrm>
          <a:prstGeom prst="rect">
            <a:avLst/>
          </a:prstGeom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ACA6A3F-9A4F-447E-9613-E3A6E9E60723}"/>
              </a:ext>
            </a:extLst>
          </p:cNvPr>
          <p:cNvCxnSpPr>
            <a:cxnSpLocks/>
            <a:stCxn id="19" idx="1"/>
            <a:endCxn id="17" idx="0"/>
          </p:cNvCxnSpPr>
          <p:nvPr/>
        </p:nvCxnSpPr>
        <p:spPr>
          <a:xfrm rot="10800000" flipV="1">
            <a:off x="2784165" y="2694995"/>
            <a:ext cx="2293483" cy="518372"/>
          </a:xfrm>
          <a:prstGeom prst="bentConnector2">
            <a:avLst/>
          </a:prstGeom>
          <a:ln w="12700">
            <a:solidFill>
              <a:srgbClr val="982920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2">
            <a:extLst>
              <a:ext uri="{FF2B5EF4-FFF2-40B4-BE49-F238E27FC236}">
                <a16:creationId xmlns:a16="http://schemas.microsoft.com/office/drawing/2014/main" id="{D0048C55-038F-431C-BFD8-BBB107C8D2CE}"/>
              </a:ext>
            </a:extLst>
          </p:cNvPr>
          <p:cNvCxnSpPr>
            <a:cxnSpLocks/>
            <a:stCxn id="16" idx="0"/>
            <a:endCxn id="19" idx="3"/>
          </p:cNvCxnSpPr>
          <p:nvPr/>
        </p:nvCxnSpPr>
        <p:spPr>
          <a:xfrm rot="16200000" flipV="1">
            <a:off x="6712710" y="1958401"/>
            <a:ext cx="518372" cy="1991560"/>
          </a:xfrm>
          <a:prstGeom prst="bentConnector2">
            <a:avLst/>
          </a:prstGeom>
          <a:ln w="12700">
            <a:solidFill>
              <a:srgbClr val="982920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137">
            <a:extLst>
              <a:ext uri="{FF2B5EF4-FFF2-40B4-BE49-F238E27FC236}">
                <a16:creationId xmlns:a16="http://schemas.microsoft.com/office/drawing/2014/main" id="{59BCE1C3-9C43-42AC-9E93-4CE10019013B}"/>
              </a:ext>
            </a:extLst>
          </p:cNvPr>
          <p:cNvSpPr/>
          <p:nvPr/>
        </p:nvSpPr>
        <p:spPr>
          <a:xfrm>
            <a:off x="774353" y="3373955"/>
            <a:ext cx="1739676" cy="516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98051">
              <a:lnSpc>
                <a:spcPct val="95000"/>
              </a:lnSpc>
              <a:spcAft>
                <a:spcPts val="272"/>
              </a:spcAft>
              <a:defRPr/>
            </a:pPr>
            <a:r>
              <a:rPr lang="en-US" sz="1451" b="1" dirty="0">
                <a:solidFill>
                  <a:srgbClr val="3D497C"/>
                </a:solidFill>
                <a:latin typeface="PT Sans Narrow" panose="020B0506020203020204" pitchFamily="34" charset="-52"/>
                <a:cs typeface="Angsana New" pitchFamily="18" charset="-34"/>
              </a:rPr>
              <a:t>Managing of the transportations</a:t>
            </a:r>
            <a:endParaRPr lang="ru-RU" sz="1451" b="1" dirty="0">
              <a:solidFill>
                <a:srgbClr val="3D497C"/>
              </a:solidFill>
              <a:latin typeface="PT Sans Narrow" panose="020B0506020203020204" pitchFamily="34" charset="-52"/>
              <a:cs typeface="Angsana New" pitchFamily="18" charset="-34"/>
            </a:endParaRPr>
          </a:p>
        </p:txBody>
      </p:sp>
      <p:sp>
        <p:nvSpPr>
          <p:cNvPr id="29" name="Прямоугольник 137">
            <a:extLst>
              <a:ext uri="{FF2B5EF4-FFF2-40B4-BE49-F238E27FC236}">
                <a16:creationId xmlns:a16="http://schemas.microsoft.com/office/drawing/2014/main" id="{74C9B0C9-3DEE-4A1F-B83D-C85C3D3BE199}"/>
              </a:ext>
            </a:extLst>
          </p:cNvPr>
          <p:cNvSpPr/>
          <p:nvPr/>
        </p:nvSpPr>
        <p:spPr>
          <a:xfrm>
            <a:off x="7817172" y="3392985"/>
            <a:ext cx="2210209" cy="5550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98051">
              <a:lnSpc>
                <a:spcPct val="95000"/>
              </a:lnSpc>
              <a:spcAft>
                <a:spcPts val="272"/>
              </a:spcAft>
            </a:pPr>
            <a:r>
              <a:rPr lang="en-US" sz="1451" b="1" dirty="0">
                <a:solidFill>
                  <a:srgbClr val="3D497C"/>
                </a:solidFill>
                <a:latin typeface="PT Sans Narrow" panose="020B0506020203020204" pitchFamily="34" charset="-52"/>
                <a:cs typeface="Angsana New" pitchFamily="18" charset="-34"/>
              </a:rPr>
              <a:t>Digital </a:t>
            </a:r>
          </a:p>
          <a:p>
            <a:pPr algn="ctr" defTabSz="898051">
              <a:lnSpc>
                <a:spcPct val="95000"/>
              </a:lnSpc>
              <a:spcAft>
                <a:spcPts val="272"/>
              </a:spcAft>
            </a:pPr>
            <a:r>
              <a:rPr lang="en-US" sz="1451" b="1" dirty="0">
                <a:solidFill>
                  <a:srgbClr val="3D497C"/>
                </a:solidFill>
                <a:latin typeface="PT Sans Narrow" panose="020B0506020203020204" pitchFamily="34" charset="-52"/>
                <a:cs typeface="Angsana New" pitchFamily="18" charset="-34"/>
              </a:rPr>
              <a:t>warehouse</a:t>
            </a:r>
            <a:endParaRPr lang="ru-RU" sz="1451" b="1" dirty="0">
              <a:solidFill>
                <a:srgbClr val="3D497C"/>
              </a:solidFill>
              <a:latin typeface="PT Sans Narrow" panose="020B0506020203020204" pitchFamily="34" charset="-52"/>
              <a:cs typeface="Angsana New" pitchFamily="18" charset="-34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4FEE196F-7DFB-4A91-8A88-7A096A9B42A2}"/>
              </a:ext>
            </a:extLst>
          </p:cNvPr>
          <p:cNvCxnSpPr>
            <a:cxnSpLocks/>
          </p:cNvCxnSpPr>
          <p:nvPr/>
        </p:nvCxnSpPr>
        <p:spPr>
          <a:xfrm>
            <a:off x="5526881" y="4144214"/>
            <a:ext cx="0" cy="306000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4B0C9554-C90D-43FE-A53F-5900136F9EC4}"/>
              </a:ext>
            </a:extLst>
          </p:cNvPr>
          <p:cNvSpPr/>
          <p:nvPr/>
        </p:nvSpPr>
        <p:spPr>
          <a:xfrm>
            <a:off x="5733320" y="4100235"/>
            <a:ext cx="4680000" cy="19441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9061" indent="-259061">
              <a:spcBef>
                <a:spcPts val="544"/>
              </a:spcBef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Infrastructure and staff expenditures minimization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on the terminals by creating smart loaders using the Computer Vision technologies</a:t>
            </a: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  <a:latin typeface="PT Sans Narrow" panose="020B0506020203020204" pitchFamily="34" charset="-52"/>
            </a:endParaRPr>
          </a:p>
          <a:p>
            <a:pPr marL="259061" indent="-259061">
              <a:spcBef>
                <a:spcPts val="544"/>
              </a:spcBef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Management of the inner warehouse</a:t>
            </a:r>
            <a:r>
              <a:rPr 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logistics and fulfillment</a:t>
            </a: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  <a:latin typeface="PT Sans Narrow" panose="020B0506020203020204" pitchFamily="34" charset="-52"/>
            </a:endParaRPr>
          </a:p>
          <a:p>
            <a:pPr marL="259061" indent="-259061">
              <a:spcBef>
                <a:spcPts val="544"/>
              </a:spcBef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Digital warehouse</a:t>
            </a:r>
            <a:r>
              <a:rPr 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–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digital copy of the warehouse with more than 40 parameters of the technical condition</a:t>
            </a: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  <a:latin typeface="PT Sans Narrow" panose="020B0506020203020204" pitchFamily="34" charset="-52"/>
            </a:endParaRPr>
          </a:p>
        </p:txBody>
      </p:sp>
      <p:sp>
        <p:nvSpPr>
          <p:cNvPr id="22" name="Полилиния 11">
            <a:extLst>
              <a:ext uri="{FF2B5EF4-FFF2-40B4-BE49-F238E27FC236}">
                <a16:creationId xmlns:a16="http://schemas.microsoft.com/office/drawing/2014/main" id="{8D0C9E43-B938-4E25-8B5B-883305B5FFF6}"/>
              </a:ext>
            </a:extLst>
          </p:cNvPr>
          <p:cNvSpPr/>
          <p:nvPr/>
        </p:nvSpPr>
        <p:spPr>
          <a:xfrm>
            <a:off x="659" y="331336"/>
            <a:ext cx="695325" cy="2776047"/>
          </a:xfrm>
          <a:custGeom>
            <a:avLst/>
            <a:gdLst>
              <a:gd name="connsiteX0" fmla="*/ 0 w 657225"/>
              <a:gd name="connsiteY0" fmla="*/ 0 h 2162175"/>
              <a:gd name="connsiteX1" fmla="*/ 657225 w 657225"/>
              <a:gd name="connsiteY1" fmla="*/ 9525 h 2162175"/>
              <a:gd name="connsiteX2" fmla="*/ 19050 w 657225"/>
              <a:gd name="connsiteY2" fmla="*/ 2162175 h 2162175"/>
              <a:gd name="connsiteX3" fmla="*/ 0 w 657225"/>
              <a:gd name="connsiteY3" fmla="*/ 0 h 2162175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52992"/>
              <a:gd name="connsiteX1" fmla="*/ 657225 w 657225"/>
              <a:gd name="connsiteY1" fmla="*/ 9525 h 2152992"/>
              <a:gd name="connsiteX2" fmla="*/ 0 w 657225"/>
              <a:gd name="connsiteY2" fmla="*/ 2152992 h 2152992"/>
              <a:gd name="connsiteX3" fmla="*/ 0 w 657225"/>
              <a:gd name="connsiteY3" fmla="*/ 0 h 2152992"/>
              <a:gd name="connsiteX0" fmla="*/ 0 w 657225"/>
              <a:gd name="connsiteY0" fmla="*/ 17738 h 2170730"/>
              <a:gd name="connsiteX1" fmla="*/ 657225 w 657225"/>
              <a:gd name="connsiteY1" fmla="*/ 0 h 2170730"/>
              <a:gd name="connsiteX2" fmla="*/ 0 w 657225"/>
              <a:gd name="connsiteY2" fmla="*/ 2170730 h 2170730"/>
              <a:gd name="connsiteX3" fmla="*/ 0 w 657225"/>
              <a:gd name="connsiteY3" fmla="*/ 17738 h 2170730"/>
              <a:gd name="connsiteX0" fmla="*/ 0 w 657225"/>
              <a:gd name="connsiteY0" fmla="*/ 0 h 2171168"/>
              <a:gd name="connsiteX1" fmla="*/ 657225 w 657225"/>
              <a:gd name="connsiteY1" fmla="*/ 438 h 2171168"/>
              <a:gd name="connsiteX2" fmla="*/ 0 w 657225"/>
              <a:gd name="connsiteY2" fmla="*/ 2171168 h 2171168"/>
              <a:gd name="connsiteX3" fmla="*/ 0 w 657225"/>
              <a:gd name="connsiteY3" fmla="*/ 0 h 2171168"/>
              <a:gd name="connsiteX0" fmla="*/ 0 w 695325"/>
              <a:gd name="connsiteY0" fmla="*/ 0 h 2171168"/>
              <a:gd name="connsiteX1" fmla="*/ 695325 w 695325"/>
              <a:gd name="connsiteY1" fmla="*/ 438 h 2171168"/>
              <a:gd name="connsiteX2" fmla="*/ 0 w 695325"/>
              <a:gd name="connsiteY2" fmla="*/ 2171168 h 2171168"/>
              <a:gd name="connsiteX3" fmla="*/ 0 w 695325"/>
              <a:gd name="connsiteY3" fmla="*/ 0 h 2171168"/>
              <a:gd name="connsiteX0" fmla="*/ 9525 w 704850"/>
              <a:gd name="connsiteY0" fmla="*/ 0 h 2676201"/>
              <a:gd name="connsiteX1" fmla="*/ 704850 w 704850"/>
              <a:gd name="connsiteY1" fmla="*/ 438 h 2676201"/>
              <a:gd name="connsiteX2" fmla="*/ 0 w 704850"/>
              <a:gd name="connsiteY2" fmla="*/ 2676201 h 2676201"/>
              <a:gd name="connsiteX3" fmla="*/ 9525 w 704850"/>
              <a:gd name="connsiteY3" fmla="*/ 0 h 2676201"/>
              <a:gd name="connsiteX0" fmla="*/ 0 w 695325"/>
              <a:gd name="connsiteY0" fmla="*/ 0 h 2667019"/>
              <a:gd name="connsiteX1" fmla="*/ 695325 w 695325"/>
              <a:gd name="connsiteY1" fmla="*/ 438 h 2667019"/>
              <a:gd name="connsiteX2" fmla="*/ 9525 w 695325"/>
              <a:gd name="connsiteY2" fmla="*/ 2667019 h 2667019"/>
              <a:gd name="connsiteX3" fmla="*/ 0 w 695325"/>
              <a:gd name="connsiteY3" fmla="*/ 0 h 2667019"/>
              <a:gd name="connsiteX0" fmla="*/ 0 w 695325"/>
              <a:gd name="connsiteY0" fmla="*/ 0 h 2667019"/>
              <a:gd name="connsiteX1" fmla="*/ 695325 w 695325"/>
              <a:gd name="connsiteY1" fmla="*/ 438 h 2667019"/>
              <a:gd name="connsiteX2" fmla="*/ 9525 w 695325"/>
              <a:gd name="connsiteY2" fmla="*/ 2667019 h 2667019"/>
              <a:gd name="connsiteX3" fmla="*/ 0 w 695325"/>
              <a:gd name="connsiteY3" fmla="*/ 0 h 2667019"/>
              <a:gd name="connsiteX0" fmla="*/ 0 w 695325"/>
              <a:gd name="connsiteY0" fmla="*/ 0 h 2676201"/>
              <a:gd name="connsiteX1" fmla="*/ 695325 w 695325"/>
              <a:gd name="connsiteY1" fmla="*/ 438 h 2676201"/>
              <a:gd name="connsiteX2" fmla="*/ 0 w 695325"/>
              <a:gd name="connsiteY2" fmla="*/ 2676201 h 2676201"/>
              <a:gd name="connsiteX3" fmla="*/ 0 w 695325"/>
              <a:gd name="connsiteY3" fmla="*/ 0 h 2676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325" h="2676201">
                <a:moveTo>
                  <a:pt x="0" y="0"/>
                </a:moveTo>
                <a:lnTo>
                  <a:pt x="695325" y="438"/>
                </a:lnTo>
                <a:lnTo>
                  <a:pt x="0" y="2676201"/>
                </a:lnTo>
                <a:lnTo>
                  <a:pt x="0" y="0"/>
                </a:lnTo>
                <a:close/>
              </a:path>
            </a:pathLst>
          </a:custGeom>
          <a:solidFill>
            <a:srgbClr val="9829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4" name="Полилиния 12">
            <a:extLst>
              <a:ext uri="{FF2B5EF4-FFF2-40B4-BE49-F238E27FC236}">
                <a16:creationId xmlns:a16="http://schemas.microsoft.com/office/drawing/2014/main" id="{B3FC8BB1-DAA0-4829-AAAE-EAFE4F8CF685}"/>
              </a:ext>
            </a:extLst>
          </p:cNvPr>
          <p:cNvSpPr/>
          <p:nvPr/>
        </p:nvSpPr>
        <p:spPr>
          <a:xfrm>
            <a:off x="0" y="0"/>
            <a:ext cx="428625" cy="1743075"/>
          </a:xfrm>
          <a:custGeom>
            <a:avLst/>
            <a:gdLst>
              <a:gd name="connsiteX0" fmla="*/ 0 w 447675"/>
              <a:gd name="connsiteY0" fmla="*/ 0 h 1447800"/>
              <a:gd name="connsiteX1" fmla="*/ 447675 w 447675"/>
              <a:gd name="connsiteY1" fmla="*/ 0 h 1447800"/>
              <a:gd name="connsiteX2" fmla="*/ 19050 w 447675"/>
              <a:gd name="connsiteY2" fmla="*/ 1447800 h 1447800"/>
              <a:gd name="connsiteX3" fmla="*/ 0 w 447675"/>
              <a:gd name="connsiteY3" fmla="*/ 0 h 1447800"/>
              <a:gd name="connsiteX0" fmla="*/ 0 w 447675"/>
              <a:gd name="connsiteY0" fmla="*/ 0 h 1476375"/>
              <a:gd name="connsiteX1" fmla="*/ 447675 w 447675"/>
              <a:gd name="connsiteY1" fmla="*/ 0 h 1476375"/>
              <a:gd name="connsiteX2" fmla="*/ 9525 w 447675"/>
              <a:gd name="connsiteY2" fmla="*/ 1476375 h 1476375"/>
              <a:gd name="connsiteX3" fmla="*/ 0 w 447675"/>
              <a:gd name="connsiteY3" fmla="*/ 0 h 1476375"/>
              <a:gd name="connsiteX0" fmla="*/ 0 w 438150"/>
              <a:gd name="connsiteY0" fmla="*/ 28575 h 1476375"/>
              <a:gd name="connsiteX1" fmla="*/ 438150 w 438150"/>
              <a:gd name="connsiteY1" fmla="*/ 0 h 1476375"/>
              <a:gd name="connsiteX2" fmla="*/ 0 w 438150"/>
              <a:gd name="connsiteY2" fmla="*/ 1476375 h 1476375"/>
              <a:gd name="connsiteX3" fmla="*/ 0 w 438150"/>
              <a:gd name="connsiteY3" fmla="*/ 28575 h 1476375"/>
              <a:gd name="connsiteX0" fmla="*/ 9525 w 438150"/>
              <a:gd name="connsiteY0" fmla="*/ 9525 h 1476375"/>
              <a:gd name="connsiteX1" fmla="*/ 438150 w 438150"/>
              <a:gd name="connsiteY1" fmla="*/ 0 h 1476375"/>
              <a:gd name="connsiteX2" fmla="*/ 0 w 438150"/>
              <a:gd name="connsiteY2" fmla="*/ 1476375 h 1476375"/>
              <a:gd name="connsiteX3" fmla="*/ 9525 w 438150"/>
              <a:gd name="connsiteY3" fmla="*/ 9525 h 1476375"/>
              <a:gd name="connsiteX0" fmla="*/ 0 w 428625"/>
              <a:gd name="connsiteY0" fmla="*/ 9525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0 w 428625"/>
              <a:gd name="connsiteY3" fmla="*/ 9525 h 1504950"/>
              <a:gd name="connsiteX0" fmla="*/ 19050 w 428625"/>
              <a:gd name="connsiteY0" fmla="*/ 0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19050 w 428625"/>
              <a:gd name="connsiteY3" fmla="*/ 0 h 1504950"/>
              <a:gd name="connsiteX0" fmla="*/ 0 w 428625"/>
              <a:gd name="connsiteY0" fmla="*/ 0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0 w 428625"/>
              <a:gd name="connsiteY3" fmla="*/ 0 h 1504950"/>
              <a:gd name="connsiteX0" fmla="*/ 0 w 428625"/>
              <a:gd name="connsiteY0" fmla="*/ 0 h 1581150"/>
              <a:gd name="connsiteX1" fmla="*/ 428625 w 428625"/>
              <a:gd name="connsiteY1" fmla="*/ 0 h 1581150"/>
              <a:gd name="connsiteX2" fmla="*/ 0 w 428625"/>
              <a:gd name="connsiteY2" fmla="*/ 1581150 h 1581150"/>
              <a:gd name="connsiteX3" fmla="*/ 0 w 428625"/>
              <a:gd name="connsiteY3" fmla="*/ 0 h 1581150"/>
              <a:gd name="connsiteX0" fmla="*/ 0 w 428625"/>
              <a:gd name="connsiteY0" fmla="*/ 0 h 1743075"/>
              <a:gd name="connsiteX1" fmla="*/ 428625 w 428625"/>
              <a:gd name="connsiteY1" fmla="*/ 0 h 1743075"/>
              <a:gd name="connsiteX2" fmla="*/ 0 w 428625"/>
              <a:gd name="connsiteY2" fmla="*/ 1743075 h 1743075"/>
              <a:gd name="connsiteX3" fmla="*/ 0 w 428625"/>
              <a:gd name="connsiteY3" fmla="*/ 0 h 1743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8625" h="1743075">
                <a:moveTo>
                  <a:pt x="0" y="0"/>
                </a:moveTo>
                <a:lnTo>
                  <a:pt x="428625" y="0"/>
                </a:lnTo>
                <a:lnTo>
                  <a:pt x="0" y="1743075"/>
                </a:lnTo>
                <a:lnTo>
                  <a:pt x="0" y="0"/>
                </a:lnTo>
                <a:close/>
              </a:path>
            </a:pathLst>
          </a:custGeom>
          <a:solidFill>
            <a:srgbClr val="6E6B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695984" y="1032291"/>
            <a:ext cx="9331397" cy="1200329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 anchorCtr="0">
            <a:noAutofit/>
          </a:bodyPr>
          <a:lstStyle/>
          <a:p>
            <a:pPr>
              <a:spcBef>
                <a:spcPct val="0"/>
              </a:spcBef>
            </a:pP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  <a:ea typeface="+mj-ea"/>
                <a:cs typeface="+mj-cs"/>
              </a:rPr>
              <a:t>The digital logistics platform will provide the optimal logistics and</a:t>
            </a:r>
            <a:r>
              <a:rPr lang="ru-RU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  <a:ea typeface="+mj-ea"/>
                <a:cs typeface="+mj-cs"/>
              </a:rPr>
              <a:t> </a:t>
            </a: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  <a:ea typeface="+mj-ea"/>
                <a:cs typeface="+mj-cs"/>
              </a:rPr>
              <a:t>manage the distributive warehouses with the minimum amount of staff – the </a:t>
            </a:r>
            <a:r>
              <a:rPr lang="en-US" sz="2400" b="1" dirty="0">
                <a:solidFill>
                  <a:srgbClr val="982920"/>
                </a:solidFill>
                <a:latin typeface="PT Sans Narrow" panose="020B0506020203020204" pitchFamily="34" charset="-52"/>
                <a:ea typeface="+mj-ea"/>
                <a:cs typeface="+mj-cs"/>
              </a:rPr>
              <a:t>digital warehouse</a:t>
            </a:r>
            <a:endParaRPr lang="ru-RU" sz="2400" b="1" dirty="0">
              <a:solidFill>
                <a:srgbClr val="982920"/>
              </a:solidFill>
              <a:latin typeface="PT Sans Narrow" panose="020B0506020203020204" pitchFamily="34" charset="-52"/>
              <a:ea typeface="+mj-ea"/>
              <a:cs typeface="+mj-cs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86326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D167C2F6-3266-4030-A78D-AD5CFCC9DE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39" y="85338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D167C2F6-3266-4030-A78D-AD5CFCC9D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39" y="853381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96839F1D-D7B4-4907-A038-43B7A193313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1941"/>
            <a:ext cx="143929" cy="143929"/>
          </a:xfrm>
          <a:prstGeom prst="rect">
            <a:avLst/>
          </a:prstGeom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813" b="1" dirty="0" err="1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2" name="Заголовок 1">
            <a:extLst>
              <a:ext uri="{FF2B5EF4-FFF2-40B4-BE49-F238E27FC236}">
                <a16:creationId xmlns:a16="http://schemas.microsoft.com/office/drawing/2014/main" id="{9AFD1FC4-8D3B-419B-91E8-BA6E8F745D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6625" y="1433197"/>
            <a:ext cx="8526680" cy="439623"/>
          </a:xfr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 anchorCtr="0">
            <a:noAutofit/>
          </a:bodyPr>
          <a:lstStyle/>
          <a:p>
            <a:pPr algn="l"/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Customer journey should be based on the </a:t>
            </a:r>
            <a:r>
              <a:rPr lang="en-US" sz="2400" dirty="0">
                <a:solidFill>
                  <a:srgbClr val="982920"/>
                </a:solidFill>
                <a:latin typeface="PT Sans Narrow" panose="020B0506020203020204" pitchFamily="34" charset="-52"/>
              </a:rPr>
              <a:t>Joint Digital Platform</a:t>
            </a:r>
            <a:endParaRPr lang="ru-RU" sz="2400" dirty="0">
              <a:solidFill>
                <a:srgbClr val="982920"/>
              </a:solidFill>
              <a:latin typeface="PT Sans Narrow" panose="020B0506020203020204" pitchFamily="34" charset="-52"/>
            </a:endParaRPr>
          </a:p>
        </p:txBody>
      </p:sp>
      <p:sp>
        <p:nvSpPr>
          <p:cNvPr id="95" name="Title 14">
            <a:extLst>
              <a:ext uri="{FF2B5EF4-FFF2-40B4-BE49-F238E27FC236}">
                <a16:creationId xmlns:a16="http://schemas.microsoft.com/office/drawing/2014/main" id="{9DBAB2DF-466F-4E2F-A6F0-0BECE494850E}"/>
              </a:ext>
            </a:extLst>
          </p:cNvPr>
          <p:cNvSpPr txBox="1">
            <a:spLocks/>
          </p:cNvSpPr>
          <p:nvPr/>
        </p:nvSpPr>
        <p:spPr>
          <a:xfrm>
            <a:off x="0" y="5095664"/>
            <a:ext cx="1496626" cy="22326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lang="en-US" sz="2533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1105300">
              <a:defRPr/>
            </a:pPr>
            <a:r>
              <a:rPr lang="en-US" sz="1451" b="1" i="1" dirty="0" err="1">
                <a:solidFill>
                  <a:srgbClr val="3D497C"/>
                </a:solidFill>
                <a:latin typeface="PT Sans Narrow" panose="020B0506020203020204" pitchFamily="34" charset="-52"/>
              </a:rPr>
              <a:t>Freightforwarders</a:t>
            </a:r>
            <a:endParaRPr lang="ru-RU" sz="1451" b="1" i="1" dirty="0">
              <a:solidFill>
                <a:srgbClr val="3D497C"/>
              </a:solidFill>
              <a:latin typeface="PT Sans Narrow" panose="020B0506020203020204" pitchFamily="34" charset="-52"/>
              <a:sym typeface="Arial"/>
            </a:endParaRPr>
          </a:p>
        </p:txBody>
      </p:sp>
      <p:grpSp>
        <p:nvGrpSpPr>
          <p:cNvPr id="96" name="Группа 95">
            <a:extLst>
              <a:ext uri="{FF2B5EF4-FFF2-40B4-BE49-F238E27FC236}">
                <a16:creationId xmlns:a16="http://schemas.microsoft.com/office/drawing/2014/main" id="{FEE56D64-7804-4EDA-8FF5-E6109A91F265}"/>
              </a:ext>
            </a:extLst>
          </p:cNvPr>
          <p:cNvGrpSpPr/>
          <p:nvPr/>
        </p:nvGrpSpPr>
        <p:grpSpPr>
          <a:xfrm>
            <a:off x="97510" y="3058280"/>
            <a:ext cx="1396923" cy="884972"/>
            <a:chOff x="308304" y="2537303"/>
            <a:chExt cx="1612570" cy="908864"/>
          </a:xfrm>
        </p:grpSpPr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35DC89EC-77AA-48E3-828B-1DAB4855662E}"/>
                </a:ext>
              </a:extLst>
            </p:cNvPr>
            <p:cNvSpPr txBox="1"/>
            <p:nvPr/>
          </p:nvSpPr>
          <p:spPr>
            <a:xfrm>
              <a:off x="308304" y="2537303"/>
              <a:ext cx="1598183" cy="908864"/>
            </a:xfrm>
            <a:prstGeom prst="wedgeEllipseCallout">
              <a:avLst>
                <a:gd name="adj1" fmla="val -4974"/>
                <a:gd name="adj2" fmla="val 73355"/>
              </a:avLst>
            </a:prstGeom>
            <a:solidFill>
              <a:schemeClr val="bg1">
                <a:lumMod val="95000"/>
              </a:schemeClr>
            </a:solidFill>
          </p:spPr>
          <p:txBody>
            <a:bodyPr wrap="square" lIns="0" tIns="0" rIns="0" bIns="0" rtlCol="0">
              <a:noAutofit/>
            </a:bodyPr>
            <a:lstStyle/>
            <a:p>
              <a:pPr algn="ctr"/>
              <a:endParaRPr lang="ru-RU" sz="1904" dirty="0">
                <a:latin typeface="PT Sans Narrow" panose="020B0506020203020204" pitchFamily="34" charset="-52"/>
              </a:endParaRPr>
            </a:p>
          </p:txBody>
        </p:sp>
        <p:sp>
          <p:nvSpPr>
            <p:cNvPr id="98" name="Прямоугольник 97">
              <a:extLst>
                <a:ext uri="{FF2B5EF4-FFF2-40B4-BE49-F238E27FC236}">
                  <a16:creationId xmlns:a16="http://schemas.microsoft.com/office/drawing/2014/main" id="{5B656495-E184-4E0A-A8AF-FFD3831E99BC}"/>
                </a:ext>
              </a:extLst>
            </p:cNvPr>
            <p:cNvSpPr/>
            <p:nvPr/>
          </p:nvSpPr>
          <p:spPr>
            <a:xfrm>
              <a:off x="336288" y="2652517"/>
              <a:ext cx="1584586" cy="66378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>
                  <a:latin typeface="PT Sans Narrow" panose="020B0506020203020204" pitchFamily="34" charset="-52"/>
                </a:rPr>
                <a:t>If the customer </a:t>
              </a:r>
              <a:br>
                <a:rPr lang="en-US" sz="1200" dirty="0">
                  <a:latin typeface="PT Sans Narrow" panose="020B0506020203020204" pitchFamily="34" charset="-52"/>
                </a:rPr>
              </a:br>
              <a:r>
                <a:rPr lang="en-US" sz="1200" dirty="0">
                  <a:latin typeface="PT Sans Narrow" panose="020B0506020203020204" pitchFamily="34" charset="-52"/>
                </a:rPr>
                <a:t>intends to deliver </a:t>
              </a:r>
              <a:br>
                <a:rPr lang="en-US" sz="1200" dirty="0">
                  <a:latin typeface="PT Sans Narrow" panose="020B0506020203020204" pitchFamily="34" charset="-52"/>
                </a:rPr>
              </a:br>
              <a:r>
                <a:rPr lang="en-US" sz="1200" dirty="0">
                  <a:latin typeface="PT Sans Narrow" panose="020B0506020203020204" pitchFamily="34" charset="-52"/>
                </a:rPr>
                <a:t>3 pallets to the shop</a:t>
              </a:r>
              <a:endParaRPr lang="ru-RU" sz="1200" dirty="0">
                <a:latin typeface="PT Sans Narrow" panose="020B0506020203020204" pitchFamily="34" charset="-52"/>
              </a:endParaRPr>
            </a:p>
          </p:txBody>
        </p:sp>
      </p:grpSp>
      <p:cxnSp>
        <p:nvCxnSpPr>
          <p:cNvPr id="99" name="Прямая со стрелкой 35">
            <a:extLst>
              <a:ext uri="{FF2B5EF4-FFF2-40B4-BE49-F238E27FC236}">
                <a16:creationId xmlns:a16="http://schemas.microsoft.com/office/drawing/2014/main" id="{13E1E040-89BF-4693-A9D5-D798182B39C4}"/>
              </a:ext>
            </a:extLst>
          </p:cNvPr>
          <p:cNvCxnSpPr>
            <a:cxnSpLocks/>
            <a:endCxn id="67" idx="3"/>
          </p:cNvCxnSpPr>
          <p:nvPr/>
        </p:nvCxnSpPr>
        <p:spPr>
          <a:xfrm flipV="1">
            <a:off x="1070497" y="3335523"/>
            <a:ext cx="961293" cy="897012"/>
          </a:xfrm>
          <a:prstGeom prst="bentConnector3">
            <a:avLst>
              <a:gd name="adj1" fmla="val 50000"/>
            </a:avLst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Прямая со стрелкой 35">
            <a:extLst>
              <a:ext uri="{FF2B5EF4-FFF2-40B4-BE49-F238E27FC236}">
                <a16:creationId xmlns:a16="http://schemas.microsoft.com/office/drawing/2014/main" id="{C2529081-A35C-4588-A11E-A0D0AAE9BA5E}"/>
              </a:ext>
            </a:extLst>
          </p:cNvPr>
          <p:cNvCxnSpPr>
            <a:cxnSpLocks/>
            <a:endCxn id="91" idx="0"/>
          </p:cNvCxnSpPr>
          <p:nvPr/>
        </p:nvCxnSpPr>
        <p:spPr>
          <a:xfrm>
            <a:off x="1062385" y="4814715"/>
            <a:ext cx="934158" cy="856968"/>
          </a:xfrm>
          <a:prstGeom prst="bentConnector3">
            <a:avLst>
              <a:gd name="adj1" fmla="val 50000"/>
            </a:avLst>
          </a:prstGeom>
          <a:ln w="28575">
            <a:solidFill>
              <a:srgbClr val="00866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1002BA65-3A2E-49E9-AE38-067B7198FD07}"/>
              </a:ext>
            </a:extLst>
          </p:cNvPr>
          <p:cNvSpPr/>
          <p:nvPr/>
        </p:nvSpPr>
        <p:spPr>
          <a:xfrm>
            <a:off x="2452665" y="3533731"/>
            <a:ext cx="1588423" cy="5945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88" b="1" dirty="0">
                <a:solidFill>
                  <a:srgbClr val="3D497C"/>
                </a:solidFill>
                <a:latin typeface="PT Sans Narrow" panose="020B0506020203020204" pitchFamily="34" charset="-52"/>
              </a:rPr>
              <a:t>Container delivery to the Moscow area terminal by rail</a:t>
            </a:r>
            <a:endParaRPr lang="ru-RU" sz="1088" dirty="0">
              <a:solidFill>
                <a:srgbClr val="3D497C"/>
              </a:solidFill>
              <a:latin typeface="PT Sans Narrow" panose="020B0506020203020204" pitchFamily="34" charset="-52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5115727E-FAFD-4703-B52B-94B395A42DCE}"/>
              </a:ext>
            </a:extLst>
          </p:cNvPr>
          <p:cNvSpPr/>
          <p:nvPr/>
        </p:nvSpPr>
        <p:spPr>
          <a:xfrm>
            <a:off x="4148975" y="3533731"/>
            <a:ext cx="1588423" cy="5945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88" b="1" dirty="0">
                <a:solidFill>
                  <a:srgbClr val="3D497C"/>
                </a:solidFill>
                <a:latin typeface="PT Sans Narrow" panose="020B0506020203020204" pitchFamily="34" charset="-52"/>
              </a:rPr>
              <a:t>Container delivery to the transport logistics center in the Moscow area by auto</a:t>
            </a:r>
            <a:endParaRPr lang="ru-RU" sz="1088" dirty="0">
              <a:solidFill>
                <a:srgbClr val="3D497C"/>
              </a:solidFill>
              <a:latin typeface="PT Sans Narrow" panose="020B0506020203020204" pitchFamily="34" charset="-52"/>
            </a:endParaRP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0A025632-978C-448E-8864-7C782F6C95E4}"/>
              </a:ext>
            </a:extLst>
          </p:cNvPr>
          <p:cNvSpPr/>
          <p:nvPr/>
        </p:nvSpPr>
        <p:spPr>
          <a:xfrm>
            <a:off x="5845285" y="3533731"/>
            <a:ext cx="1588423" cy="2597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88" b="1" dirty="0">
                <a:solidFill>
                  <a:srgbClr val="3D497C"/>
                </a:solidFill>
                <a:latin typeface="PT Sans Narrow" panose="020B0506020203020204" pitchFamily="34" charset="-52"/>
              </a:rPr>
              <a:t>Warehousing and fulfillment</a:t>
            </a:r>
            <a:endParaRPr lang="ru-RU" sz="1088" dirty="0">
              <a:solidFill>
                <a:srgbClr val="3D497C"/>
              </a:solidFill>
              <a:latin typeface="PT Sans Narrow" panose="020B0506020203020204" pitchFamily="34" charset="-52"/>
            </a:endParaRP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03F319C7-4BBD-4F6B-B704-DB7B0DE95E25}"/>
              </a:ext>
            </a:extLst>
          </p:cNvPr>
          <p:cNvSpPr/>
          <p:nvPr/>
        </p:nvSpPr>
        <p:spPr>
          <a:xfrm>
            <a:off x="7541595" y="3533731"/>
            <a:ext cx="1588423" cy="2597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88" b="1" dirty="0">
                <a:solidFill>
                  <a:srgbClr val="3D497C"/>
                </a:solidFill>
                <a:latin typeface="PT Sans Narrow" panose="020B0506020203020204" pitchFamily="34" charset="-52"/>
              </a:rPr>
              <a:t>Delivery to Moscow by auto</a:t>
            </a:r>
            <a:endParaRPr lang="ru-RU" sz="1088" dirty="0">
              <a:solidFill>
                <a:srgbClr val="3D497C"/>
              </a:solidFill>
              <a:latin typeface="PT Sans Narrow" panose="020B0506020203020204" pitchFamily="34" charset="-52"/>
            </a:endParaRPr>
          </a:p>
        </p:txBody>
      </p:sp>
      <p:cxnSp>
        <p:nvCxnSpPr>
          <p:cNvPr id="11" name="Прямая со стрелкой 10">
            <a:extLst>
              <a:ext uri="{FF2B5EF4-FFF2-40B4-BE49-F238E27FC236}">
                <a16:creationId xmlns:a16="http://schemas.microsoft.com/office/drawing/2014/main" id="{E5FFF601-88EA-4DA2-AA45-FAD196FEFD16}"/>
              </a:ext>
            </a:extLst>
          </p:cNvPr>
          <p:cNvCxnSpPr>
            <a:stCxn id="2" idx="6"/>
            <a:endCxn id="53" idx="2"/>
          </p:cNvCxnSpPr>
          <p:nvPr/>
        </p:nvCxnSpPr>
        <p:spPr>
          <a:xfrm>
            <a:off x="3678664" y="3065284"/>
            <a:ext cx="843732" cy="0"/>
          </a:xfrm>
          <a:prstGeom prst="straightConnector1">
            <a:avLst/>
          </a:prstGeom>
          <a:ln w="127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 стрелкой 64">
            <a:extLst>
              <a:ext uri="{FF2B5EF4-FFF2-40B4-BE49-F238E27FC236}">
                <a16:creationId xmlns:a16="http://schemas.microsoft.com/office/drawing/2014/main" id="{18D1914D-AF4D-472C-ACC5-7EA81906D4AE}"/>
              </a:ext>
            </a:extLst>
          </p:cNvPr>
          <p:cNvCxnSpPr>
            <a:cxnSpLocks/>
            <a:stCxn id="53" idx="6"/>
            <a:endCxn id="55" idx="2"/>
          </p:cNvCxnSpPr>
          <p:nvPr/>
        </p:nvCxnSpPr>
        <p:spPr>
          <a:xfrm>
            <a:off x="5385972" y="3065284"/>
            <a:ext cx="832735" cy="0"/>
          </a:xfrm>
          <a:prstGeom prst="straightConnector1">
            <a:avLst/>
          </a:prstGeom>
          <a:ln w="127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 стрелкой 67">
            <a:extLst>
              <a:ext uri="{FF2B5EF4-FFF2-40B4-BE49-F238E27FC236}">
                <a16:creationId xmlns:a16="http://schemas.microsoft.com/office/drawing/2014/main" id="{F0C3ED39-1841-48B5-AB9A-0184A06BAC7E}"/>
              </a:ext>
            </a:extLst>
          </p:cNvPr>
          <p:cNvCxnSpPr>
            <a:cxnSpLocks/>
            <a:stCxn id="55" idx="6"/>
            <a:endCxn id="57" idx="2"/>
          </p:cNvCxnSpPr>
          <p:nvPr/>
        </p:nvCxnSpPr>
        <p:spPr>
          <a:xfrm>
            <a:off x="7082282" y="3065284"/>
            <a:ext cx="832735" cy="0"/>
          </a:xfrm>
          <a:prstGeom prst="straightConnector1">
            <a:avLst/>
          </a:prstGeom>
          <a:ln w="127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Прямоугольник 113">
            <a:extLst>
              <a:ext uri="{FF2B5EF4-FFF2-40B4-BE49-F238E27FC236}">
                <a16:creationId xmlns:a16="http://schemas.microsoft.com/office/drawing/2014/main" id="{AD6BD40C-D35B-4F4A-84D7-B8E231043780}"/>
              </a:ext>
            </a:extLst>
          </p:cNvPr>
          <p:cNvSpPr/>
          <p:nvPr/>
        </p:nvSpPr>
        <p:spPr>
          <a:xfrm>
            <a:off x="2452665" y="6053924"/>
            <a:ext cx="1588423" cy="4271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88" b="1" dirty="0">
                <a:solidFill>
                  <a:srgbClr val="3D497C"/>
                </a:solidFill>
                <a:latin typeface="PT Sans Narrow" panose="020B0506020203020204" pitchFamily="34" charset="-52"/>
              </a:rPr>
              <a:t>Delivery to the dry port</a:t>
            </a:r>
            <a:r>
              <a:rPr lang="ru-RU" sz="1088" b="1" dirty="0">
                <a:solidFill>
                  <a:srgbClr val="3D497C"/>
                </a:solidFill>
                <a:latin typeface="PT Sans Narrow" panose="020B0506020203020204" pitchFamily="34" charset="-52"/>
              </a:rPr>
              <a:t> (</a:t>
            </a:r>
            <a:r>
              <a:rPr lang="en-US" sz="1088" b="1" dirty="0">
                <a:solidFill>
                  <a:srgbClr val="3D497C"/>
                </a:solidFill>
                <a:latin typeface="PT Sans Narrow" panose="020B0506020203020204" pitchFamily="34" charset="-52"/>
              </a:rPr>
              <a:t>Freight Village</a:t>
            </a:r>
            <a:r>
              <a:rPr lang="ru-RU" sz="1088" b="1" dirty="0">
                <a:solidFill>
                  <a:srgbClr val="3D497C"/>
                </a:solidFill>
                <a:latin typeface="PT Sans Narrow" panose="020B0506020203020204" pitchFamily="34" charset="-52"/>
              </a:rPr>
              <a:t>)</a:t>
            </a:r>
            <a:endParaRPr lang="ru-RU" sz="1088" dirty="0">
              <a:solidFill>
                <a:srgbClr val="3D497C"/>
              </a:solidFill>
              <a:latin typeface="PT Sans Narrow" panose="020B0506020203020204" pitchFamily="34" charset="-52"/>
            </a:endParaRPr>
          </a:p>
        </p:txBody>
      </p:sp>
      <p:sp>
        <p:nvSpPr>
          <p:cNvPr id="112" name="Прямоугольник 111">
            <a:extLst>
              <a:ext uri="{FF2B5EF4-FFF2-40B4-BE49-F238E27FC236}">
                <a16:creationId xmlns:a16="http://schemas.microsoft.com/office/drawing/2014/main" id="{624B1D47-69B8-474E-A67B-9207681147F0}"/>
              </a:ext>
            </a:extLst>
          </p:cNvPr>
          <p:cNvSpPr/>
          <p:nvPr/>
        </p:nvSpPr>
        <p:spPr>
          <a:xfrm>
            <a:off x="4148975" y="6053924"/>
            <a:ext cx="1588423" cy="4271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88" b="1" dirty="0">
                <a:solidFill>
                  <a:srgbClr val="3D497C"/>
                </a:solidFill>
                <a:latin typeface="PT Sans Narrow" panose="020B0506020203020204" pitchFamily="34" charset="-52"/>
              </a:rPr>
              <a:t>Warehousing and digital fulfillment</a:t>
            </a:r>
            <a:endParaRPr lang="ru-RU" sz="1088" dirty="0">
              <a:solidFill>
                <a:srgbClr val="3D497C"/>
              </a:solidFill>
              <a:latin typeface="PT Sans Narrow" panose="020B0506020203020204" pitchFamily="34" charset="-52"/>
            </a:endParaRPr>
          </a:p>
        </p:txBody>
      </p:sp>
      <p:sp>
        <p:nvSpPr>
          <p:cNvPr id="110" name="Прямоугольник 109">
            <a:extLst>
              <a:ext uri="{FF2B5EF4-FFF2-40B4-BE49-F238E27FC236}">
                <a16:creationId xmlns:a16="http://schemas.microsoft.com/office/drawing/2014/main" id="{50D38292-AD46-45E9-9E63-DA93C7BE69C7}"/>
              </a:ext>
            </a:extLst>
          </p:cNvPr>
          <p:cNvSpPr/>
          <p:nvPr/>
        </p:nvSpPr>
        <p:spPr>
          <a:xfrm>
            <a:off x="5845285" y="6053924"/>
            <a:ext cx="1588423" cy="4271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88" b="1" dirty="0">
                <a:solidFill>
                  <a:srgbClr val="3D497C"/>
                </a:solidFill>
                <a:latin typeface="PT Sans Narrow" panose="020B0506020203020204" pitchFamily="34" charset="-52"/>
              </a:rPr>
              <a:t>Transportation to the smart terminal in Moscow by rail</a:t>
            </a:r>
            <a:endParaRPr lang="ru-RU" sz="1088" dirty="0">
              <a:solidFill>
                <a:srgbClr val="3D497C"/>
              </a:solidFill>
              <a:latin typeface="PT Sans Narrow" panose="020B0506020203020204" pitchFamily="34" charset="-52"/>
            </a:endParaRPr>
          </a:p>
        </p:txBody>
      </p:sp>
      <p:grpSp>
        <p:nvGrpSpPr>
          <p:cNvPr id="141" name="Группа 140">
            <a:extLst>
              <a:ext uri="{FF2B5EF4-FFF2-40B4-BE49-F238E27FC236}">
                <a16:creationId xmlns:a16="http://schemas.microsoft.com/office/drawing/2014/main" id="{E611B524-8B3C-4E67-83CF-A4D49162B2E2}"/>
              </a:ext>
            </a:extLst>
          </p:cNvPr>
          <p:cNvGrpSpPr/>
          <p:nvPr/>
        </p:nvGrpSpPr>
        <p:grpSpPr>
          <a:xfrm>
            <a:off x="2815089" y="2633497"/>
            <a:ext cx="5963503" cy="3383769"/>
            <a:chOff x="3104967" y="1776754"/>
            <a:chExt cx="6577582" cy="3732205"/>
          </a:xfrm>
          <a:noFill/>
        </p:grpSpPr>
        <p:sp>
          <p:nvSpPr>
            <p:cNvPr id="2" name="Овал 1">
              <a:extLst>
                <a:ext uri="{FF2B5EF4-FFF2-40B4-BE49-F238E27FC236}">
                  <a16:creationId xmlns:a16="http://schemas.microsoft.com/office/drawing/2014/main" id="{2C024A68-52A7-406A-A5B8-B9B9477D8ED4}"/>
                </a:ext>
              </a:extLst>
            </p:cNvPr>
            <p:cNvSpPr/>
            <p:nvPr/>
          </p:nvSpPr>
          <p:spPr>
            <a:xfrm>
              <a:off x="3104967" y="1776754"/>
              <a:ext cx="952500" cy="952500"/>
            </a:xfrm>
            <a:prstGeom prst="ellipse">
              <a:avLst/>
            </a:prstGeom>
            <a:grpFill/>
            <a:ln w="9525">
              <a:solidFill>
                <a:schemeClr val="accent4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69" dirty="0" err="1">
                <a:latin typeface="PT Sans Narrow" panose="020B0506020203020204" pitchFamily="34" charset="-52"/>
              </a:endParaRPr>
            </a:p>
          </p:txBody>
        </p:sp>
        <p:sp>
          <p:nvSpPr>
            <p:cNvPr id="53" name="Овал 52">
              <a:extLst>
                <a:ext uri="{FF2B5EF4-FFF2-40B4-BE49-F238E27FC236}">
                  <a16:creationId xmlns:a16="http://schemas.microsoft.com/office/drawing/2014/main" id="{87A10F44-8B41-423C-ADAC-FDFFF9FF7DF8}"/>
                </a:ext>
              </a:extLst>
            </p:cNvPr>
            <p:cNvSpPr/>
            <p:nvPr/>
          </p:nvSpPr>
          <p:spPr>
            <a:xfrm>
              <a:off x="4988081" y="1776754"/>
              <a:ext cx="952500" cy="952500"/>
            </a:xfrm>
            <a:prstGeom prst="ellipse">
              <a:avLst/>
            </a:prstGeom>
            <a:grpFill/>
            <a:ln w="9525">
              <a:solidFill>
                <a:schemeClr val="accent4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69" dirty="0" err="1">
                <a:latin typeface="PT Sans Narrow" panose="020B0506020203020204" pitchFamily="34" charset="-52"/>
              </a:endParaRPr>
            </a:p>
          </p:txBody>
        </p:sp>
        <p:sp>
          <p:nvSpPr>
            <p:cNvPr id="55" name="Овал 54">
              <a:extLst>
                <a:ext uri="{FF2B5EF4-FFF2-40B4-BE49-F238E27FC236}">
                  <a16:creationId xmlns:a16="http://schemas.microsoft.com/office/drawing/2014/main" id="{8326067E-E303-4EA4-AC2A-21FD4C56A0FF}"/>
                </a:ext>
              </a:extLst>
            </p:cNvPr>
            <p:cNvSpPr/>
            <p:nvPr/>
          </p:nvSpPr>
          <p:spPr>
            <a:xfrm>
              <a:off x="6859065" y="1776754"/>
              <a:ext cx="952500" cy="952500"/>
            </a:xfrm>
            <a:prstGeom prst="ellipse">
              <a:avLst/>
            </a:prstGeom>
            <a:grpFill/>
            <a:ln w="9525">
              <a:solidFill>
                <a:schemeClr val="accent4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69" dirty="0" err="1">
                <a:latin typeface="PT Sans Narrow" panose="020B0506020203020204" pitchFamily="34" charset="-52"/>
              </a:endParaRPr>
            </a:p>
          </p:txBody>
        </p:sp>
        <p:sp>
          <p:nvSpPr>
            <p:cNvPr id="57" name="Овал 56">
              <a:extLst>
                <a:ext uri="{FF2B5EF4-FFF2-40B4-BE49-F238E27FC236}">
                  <a16:creationId xmlns:a16="http://schemas.microsoft.com/office/drawing/2014/main" id="{DEE455C7-BD84-4EEF-AC34-3ADC60DE8461}"/>
                </a:ext>
              </a:extLst>
            </p:cNvPr>
            <p:cNvSpPr/>
            <p:nvPr/>
          </p:nvSpPr>
          <p:spPr>
            <a:xfrm>
              <a:off x="8730049" y="1776754"/>
              <a:ext cx="952500" cy="952500"/>
            </a:xfrm>
            <a:prstGeom prst="ellipse">
              <a:avLst/>
            </a:prstGeom>
            <a:grpFill/>
            <a:ln w="9525">
              <a:solidFill>
                <a:schemeClr val="accent4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69" dirty="0" err="1">
                <a:latin typeface="PT Sans Narrow" panose="020B0506020203020204" pitchFamily="34" charset="-52"/>
              </a:endParaRPr>
            </a:p>
          </p:txBody>
        </p:sp>
        <p:sp>
          <p:nvSpPr>
            <p:cNvPr id="113" name="Овал 112">
              <a:extLst>
                <a:ext uri="{FF2B5EF4-FFF2-40B4-BE49-F238E27FC236}">
                  <a16:creationId xmlns:a16="http://schemas.microsoft.com/office/drawing/2014/main" id="{9DD4292F-4927-4B3A-AEC8-635231B2AD24}"/>
                </a:ext>
              </a:extLst>
            </p:cNvPr>
            <p:cNvSpPr/>
            <p:nvPr/>
          </p:nvSpPr>
          <p:spPr>
            <a:xfrm>
              <a:off x="3104967" y="4556459"/>
              <a:ext cx="952500" cy="952500"/>
            </a:xfrm>
            <a:prstGeom prst="ellipse">
              <a:avLst/>
            </a:prstGeom>
            <a:grpFill/>
            <a:ln w="9525">
              <a:solidFill>
                <a:schemeClr val="accent4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69" dirty="0" err="1">
                <a:latin typeface="PT Sans Narrow" panose="020B0506020203020204" pitchFamily="34" charset="-52"/>
              </a:endParaRPr>
            </a:p>
          </p:txBody>
        </p:sp>
        <p:sp>
          <p:nvSpPr>
            <p:cNvPr id="111" name="Овал 110">
              <a:extLst>
                <a:ext uri="{FF2B5EF4-FFF2-40B4-BE49-F238E27FC236}">
                  <a16:creationId xmlns:a16="http://schemas.microsoft.com/office/drawing/2014/main" id="{7A072803-D98A-42CD-BCC3-81E5F306B0FA}"/>
                </a:ext>
              </a:extLst>
            </p:cNvPr>
            <p:cNvSpPr/>
            <p:nvPr/>
          </p:nvSpPr>
          <p:spPr>
            <a:xfrm>
              <a:off x="4988081" y="4556459"/>
              <a:ext cx="952500" cy="952500"/>
            </a:xfrm>
            <a:prstGeom prst="ellipse">
              <a:avLst/>
            </a:prstGeom>
            <a:grpFill/>
            <a:ln w="9525">
              <a:solidFill>
                <a:schemeClr val="accent4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69" dirty="0" err="1">
                <a:latin typeface="PT Sans Narrow" panose="020B0506020203020204" pitchFamily="34" charset="-52"/>
              </a:endParaRPr>
            </a:p>
          </p:txBody>
        </p:sp>
        <p:sp>
          <p:nvSpPr>
            <p:cNvPr id="109" name="Овал 108">
              <a:extLst>
                <a:ext uri="{FF2B5EF4-FFF2-40B4-BE49-F238E27FC236}">
                  <a16:creationId xmlns:a16="http://schemas.microsoft.com/office/drawing/2014/main" id="{32A9DBA3-F741-4211-B89A-9278A67CC964}"/>
                </a:ext>
              </a:extLst>
            </p:cNvPr>
            <p:cNvSpPr/>
            <p:nvPr/>
          </p:nvSpPr>
          <p:spPr>
            <a:xfrm>
              <a:off x="6859065" y="4556459"/>
              <a:ext cx="952500" cy="952500"/>
            </a:xfrm>
            <a:prstGeom prst="ellipse">
              <a:avLst/>
            </a:prstGeom>
            <a:grpFill/>
            <a:ln w="9525">
              <a:solidFill>
                <a:schemeClr val="accent4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69" dirty="0" err="1">
                <a:latin typeface="PT Sans Narrow" panose="020B0506020203020204" pitchFamily="34" charset="-52"/>
              </a:endParaRPr>
            </a:p>
          </p:txBody>
        </p:sp>
        <p:sp>
          <p:nvSpPr>
            <p:cNvPr id="107" name="Овал 106">
              <a:extLst>
                <a:ext uri="{FF2B5EF4-FFF2-40B4-BE49-F238E27FC236}">
                  <a16:creationId xmlns:a16="http://schemas.microsoft.com/office/drawing/2014/main" id="{2AFFFFF7-2D4E-4393-9E06-B042C2FA41B4}"/>
                </a:ext>
              </a:extLst>
            </p:cNvPr>
            <p:cNvSpPr/>
            <p:nvPr/>
          </p:nvSpPr>
          <p:spPr>
            <a:xfrm>
              <a:off x="8730049" y="4556459"/>
              <a:ext cx="952500" cy="952500"/>
            </a:xfrm>
            <a:prstGeom prst="ellipse">
              <a:avLst/>
            </a:prstGeom>
            <a:grpFill/>
            <a:ln w="9525">
              <a:solidFill>
                <a:schemeClr val="accent4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69" dirty="0" err="1">
                <a:latin typeface="PT Sans Narrow" panose="020B0506020203020204" pitchFamily="34" charset="-52"/>
              </a:endParaRPr>
            </a:p>
          </p:txBody>
        </p:sp>
      </p:grpSp>
      <p:sp>
        <p:nvSpPr>
          <p:cNvPr id="108" name="Прямоугольник 107">
            <a:extLst>
              <a:ext uri="{FF2B5EF4-FFF2-40B4-BE49-F238E27FC236}">
                <a16:creationId xmlns:a16="http://schemas.microsoft.com/office/drawing/2014/main" id="{D6C8865C-817E-4F89-99C3-65B240FAE3F2}"/>
              </a:ext>
            </a:extLst>
          </p:cNvPr>
          <p:cNvSpPr/>
          <p:nvPr/>
        </p:nvSpPr>
        <p:spPr>
          <a:xfrm>
            <a:off x="7541595" y="6053924"/>
            <a:ext cx="1588423" cy="4271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88" b="1" dirty="0">
                <a:solidFill>
                  <a:srgbClr val="3D497C"/>
                </a:solidFill>
                <a:latin typeface="PT Sans Narrow" panose="020B0506020203020204" pitchFamily="34" charset="-52"/>
              </a:rPr>
              <a:t>Uberization of delivery inside Moscow</a:t>
            </a:r>
            <a:endParaRPr lang="ru-RU" sz="1088" dirty="0">
              <a:solidFill>
                <a:srgbClr val="3D497C"/>
              </a:solidFill>
              <a:latin typeface="PT Sans Narrow" panose="020B0506020203020204" pitchFamily="34" charset="-52"/>
            </a:endParaRPr>
          </a:p>
        </p:txBody>
      </p:sp>
      <p:cxnSp>
        <p:nvCxnSpPr>
          <p:cNvPr id="104" name="Прямая со стрелкой 103">
            <a:extLst>
              <a:ext uri="{FF2B5EF4-FFF2-40B4-BE49-F238E27FC236}">
                <a16:creationId xmlns:a16="http://schemas.microsoft.com/office/drawing/2014/main" id="{FB728435-AC07-4F89-8234-78D5186C43D8}"/>
              </a:ext>
            </a:extLst>
          </p:cNvPr>
          <p:cNvCxnSpPr>
            <a:stCxn id="113" idx="6"/>
            <a:endCxn id="111" idx="2"/>
          </p:cNvCxnSpPr>
          <p:nvPr/>
        </p:nvCxnSpPr>
        <p:spPr>
          <a:xfrm>
            <a:off x="3678664" y="5585478"/>
            <a:ext cx="843732" cy="0"/>
          </a:xfrm>
          <a:prstGeom prst="straightConnector1">
            <a:avLst/>
          </a:prstGeom>
          <a:ln w="127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Прямая со стрелкой 104">
            <a:extLst>
              <a:ext uri="{FF2B5EF4-FFF2-40B4-BE49-F238E27FC236}">
                <a16:creationId xmlns:a16="http://schemas.microsoft.com/office/drawing/2014/main" id="{CF9906F9-8418-40E5-AFBD-BEB54FB91D68}"/>
              </a:ext>
            </a:extLst>
          </p:cNvPr>
          <p:cNvCxnSpPr>
            <a:cxnSpLocks/>
            <a:stCxn id="111" idx="6"/>
            <a:endCxn id="109" idx="2"/>
          </p:cNvCxnSpPr>
          <p:nvPr/>
        </p:nvCxnSpPr>
        <p:spPr>
          <a:xfrm>
            <a:off x="5385972" y="5585478"/>
            <a:ext cx="832735" cy="0"/>
          </a:xfrm>
          <a:prstGeom prst="straightConnector1">
            <a:avLst/>
          </a:prstGeom>
          <a:ln w="127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Прямая со стрелкой 105">
            <a:extLst>
              <a:ext uri="{FF2B5EF4-FFF2-40B4-BE49-F238E27FC236}">
                <a16:creationId xmlns:a16="http://schemas.microsoft.com/office/drawing/2014/main" id="{F1C416C9-FE40-4D39-8978-0E7997B023F2}"/>
              </a:ext>
            </a:extLst>
          </p:cNvPr>
          <p:cNvCxnSpPr>
            <a:cxnSpLocks/>
            <a:stCxn id="109" idx="6"/>
            <a:endCxn id="107" idx="2"/>
          </p:cNvCxnSpPr>
          <p:nvPr/>
        </p:nvCxnSpPr>
        <p:spPr>
          <a:xfrm>
            <a:off x="7082282" y="5585478"/>
            <a:ext cx="832735" cy="0"/>
          </a:xfrm>
          <a:prstGeom prst="straightConnector1">
            <a:avLst/>
          </a:prstGeom>
          <a:ln w="1270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Стрелка: пятиугольник 66">
            <a:extLst>
              <a:ext uri="{FF2B5EF4-FFF2-40B4-BE49-F238E27FC236}">
                <a16:creationId xmlns:a16="http://schemas.microsoft.com/office/drawing/2014/main" id="{71FEB68C-4904-4522-9D9A-9172B931C0D1}"/>
              </a:ext>
            </a:extLst>
          </p:cNvPr>
          <p:cNvSpPr/>
          <p:nvPr/>
        </p:nvSpPr>
        <p:spPr>
          <a:xfrm flipH="1">
            <a:off x="2031790" y="2341853"/>
            <a:ext cx="8745686" cy="1987339"/>
          </a:xfrm>
          <a:prstGeom prst="homePlate">
            <a:avLst>
              <a:gd name="adj" fmla="val 19840"/>
            </a:avLst>
          </a:prstGeom>
          <a:noFill/>
          <a:ln w="9525">
            <a:solidFill>
              <a:schemeClr val="tx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69" dirty="0" err="1">
              <a:latin typeface="PT Sans Narrow" panose="020B0506020203020204" pitchFamily="34" charset="-52"/>
            </a:endParaRPr>
          </a:p>
        </p:txBody>
      </p:sp>
      <p:sp>
        <p:nvSpPr>
          <p:cNvPr id="125" name="Стрелка: пятиугольник 124">
            <a:extLst>
              <a:ext uri="{FF2B5EF4-FFF2-40B4-BE49-F238E27FC236}">
                <a16:creationId xmlns:a16="http://schemas.microsoft.com/office/drawing/2014/main" id="{94FB0051-6882-4202-9F7E-B46D01CE2BE7}"/>
              </a:ext>
            </a:extLst>
          </p:cNvPr>
          <p:cNvSpPr/>
          <p:nvPr/>
        </p:nvSpPr>
        <p:spPr>
          <a:xfrm flipH="1">
            <a:off x="2031790" y="4690337"/>
            <a:ext cx="8745686" cy="1987339"/>
          </a:xfrm>
          <a:prstGeom prst="homePlate">
            <a:avLst>
              <a:gd name="adj" fmla="val 19840"/>
            </a:avLst>
          </a:prstGeom>
          <a:noFill/>
          <a:ln w="9525">
            <a:solidFill>
              <a:srgbClr val="00866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69" dirty="0" err="1">
              <a:latin typeface="PT Sans Narrow" panose="020B0506020203020204" pitchFamily="34" charset="-52"/>
            </a:endParaRPr>
          </a:p>
        </p:txBody>
      </p:sp>
      <p:sp>
        <p:nvSpPr>
          <p:cNvPr id="91" name="Title 14">
            <a:extLst>
              <a:ext uri="{FF2B5EF4-FFF2-40B4-BE49-F238E27FC236}">
                <a16:creationId xmlns:a16="http://schemas.microsoft.com/office/drawing/2014/main" id="{EB491ED1-C302-427C-A464-2E8D5B2FE855}"/>
              </a:ext>
            </a:extLst>
          </p:cNvPr>
          <p:cNvSpPr txBox="1">
            <a:spLocks/>
          </p:cNvSpPr>
          <p:nvPr/>
        </p:nvSpPr>
        <p:spPr>
          <a:xfrm rot="16200000">
            <a:off x="1348346" y="5448417"/>
            <a:ext cx="1742926" cy="4465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8663"/>
            </a:solidFill>
          </a:ln>
        </p:spPr>
        <p:txBody>
          <a:bodyPr vert="horz" wrap="square" lIns="0" tIns="0" rIns="0" bIns="0" rtlCol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ctr" defTabSz="1219170" eaLnBrk="1" fontAlgn="auto" latinLnBrk="0" hangingPunct="1">
              <a:spcBef>
                <a:spcPct val="0"/>
              </a:spcBef>
              <a:buClrTx/>
              <a:buSzTx/>
              <a:buFontTx/>
              <a:tabLst/>
              <a:defRPr sz="1600" b="1" i="1" kern="1200">
                <a:solidFill>
                  <a:schemeClr val="accent6">
                    <a:lumMod val="75000"/>
                  </a:schemeClr>
                </a:solidFill>
                <a:latin typeface="Georgia"/>
                <a:ea typeface="+mj-ea"/>
                <a:cs typeface="+mj-cs"/>
              </a:defRPr>
            </a:lvl1pPr>
          </a:lstStyle>
          <a:p>
            <a:r>
              <a:rPr lang="en-US" sz="1451" dirty="0">
                <a:solidFill>
                  <a:srgbClr val="3D497C"/>
                </a:solidFill>
                <a:latin typeface="PT Sans Narrow" panose="020B0506020203020204" pitchFamily="34" charset="-52"/>
              </a:rPr>
              <a:t>Digital logistics platform service</a:t>
            </a:r>
            <a:endParaRPr lang="ru-RU" sz="1451" dirty="0">
              <a:solidFill>
                <a:srgbClr val="3D497C"/>
              </a:solidFill>
              <a:latin typeface="PT Sans Narrow" panose="020B0506020203020204" pitchFamily="34" charset="-52"/>
            </a:endParaRPr>
          </a:p>
        </p:txBody>
      </p:sp>
      <p:sp>
        <p:nvSpPr>
          <p:cNvPr id="89" name="Title 14">
            <a:extLst>
              <a:ext uri="{FF2B5EF4-FFF2-40B4-BE49-F238E27FC236}">
                <a16:creationId xmlns:a16="http://schemas.microsoft.com/office/drawing/2014/main" id="{F383BC6D-5E87-4928-B289-7EEA0D2F0DAB}"/>
              </a:ext>
            </a:extLst>
          </p:cNvPr>
          <p:cNvSpPr txBox="1">
            <a:spLocks/>
          </p:cNvSpPr>
          <p:nvPr/>
        </p:nvSpPr>
        <p:spPr>
          <a:xfrm rot="16200000">
            <a:off x="1348291" y="3241388"/>
            <a:ext cx="1743031" cy="2232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txBody>
          <a:bodyPr vert="horz" wrap="square" lIns="0" tIns="0" rIns="0" bIns="0" rtlCol="0" anchor="b" anchorCtr="0">
            <a:sp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lang="en-US" sz="2533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1105300">
              <a:defRPr/>
            </a:pPr>
            <a:r>
              <a:rPr lang="en-US" sz="1451" b="1" i="1" dirty="0">
                <a:solidFill>
                  <a:srgbClr val="3D497C"/>
                </a:solidFill>
                <a:latin typeface="PT Sans Narrow" panose="020B0506020203020204" pitchFamily="34" charset="-52"/>
                <a:sym typeface="Arial"/>
              </a:rPr>
              <a:t>Current situation</a:t>
            </a:r>
            <a:endParaRPr lang="ru-RU" sz="1451" b="1" i="1" dirty="0">
              <a:solidFill>
                <a:srgbClr val="3D497C"/>
              </a:solidFill>
              <a:latin typeface="PT Sans Narrow" panose="020B0506020203020204" pitchFamily="34" charset="-52"/>
              <a:sym typeface="Arial"/>
            </a:endParaRPr>
          </a:p>
        </p:txBody>
      </p:sp>
      <p:grpSp>
        <p:nvGrpSpPr>
          <p:cNvPr id="92" name="Группа 91">
            <a:extLst>
              <a:ext uri="{FF2B5EF4-FFF2-40B4-BE49-F238E27FC236}">
                <a16:creationId xmlns:a16="http://schemas.microsoft.com/office/drawing/2014/main" id="{5410259C-02E9-4906-926F-3139AFE4EE47}"/>
              </a:ext>
            </a:extLst>
          </p:cNvPr>
          <p:cNvGrpSpPr/>
          <p:nvPr/>
        </p:nvGrpSpPr>
        <p:grpSpPr>
          <a:xfrm>
            <a:off x="307451" y="4265658"/>
            <a:ext cx="684259" cy="717355"/>
            <a:chOff x="803319" y="5869803"/>
            <a:chExt cx="727200" cy="727200"/>
          </a:xfrm>
        </p:grpSpPr>
        <p:sp>
          <p:nvSpPr>
            <p:cNvPr id="93" name="Овал 92">
              <a:extLst>
                <a:ext uri="{FF2B5EF4-FFF2-40B4-BE49-F238E27FC236}">
                  <a16:creationId xmlns:a16="http://schemas.microsoft.com/office/drawing/2014/main" id="{9640A922-A54E-4650-A1A4-4D7DB6FE08A1}"/>
                </a:ext>
              </a:extLst>
            </p:cNvPr>
            <p:cNvSpPr/>
            <p:nvPr/>
          </p:nvSpPr>
          <p:spPr>
            <a:xfrm>
              <a:off x="803319" y="5869803"/>
              <a:ext cx="727200" cy="727200"/>
            </a:xfrm>
            <a:prstGeom prst="ellipse">
              <a:avLst/>
            </a:prstGeom>
            <a:solidFill>
              <a:srgbClr val="F9D0CA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2903" tIns="41452" rIns="82903" bIns="414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904" dirty="0" err="1">
                <a:latin typeface="PT Sans Narrow" panose="020B0506020203020204" pitchFamily="34" charset="-52"/>
              </a:endParaRPr>
            </a:p>
          </p:txBody>
        </p:sp>
        <p:pic>
          <p:nvPicPr>
            <p:cNvPr id="94" name="Рисунок 93">
              <a:extLst>
                <a:ext uri="{FF2B5EF4-FFF2-40B4-BE49-F238E27FC236}">
                  <a16:creationId xmlns:a16="http://schemas.microsoft.com/office/drawing/2014/main" id="{56C18147-55FF-4897-A491-F92B0F67BDE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17516" y="5984000"/>
              <a:ext cx="498806" cy="498806"/>
            </a:xfrm>
            <a:prstGeom prst="rect">
              <a:avLst/>
            </a:prstGeom>
          </p:spPr>
        </p:pic>
      </p:grpSp>
      <p:sp>
        <p:nvSpPr>
          <p:cNvPr id="138" name="Прямоугольник 137">
            <a:extLst>
              <a:ext uri="{FF2B5EF4-FFF2-40B4-BE49-F238E27FC236}">
                <a16:creationId xmlns:a16="http://schemas.microsoft.com/office/drawing/2014/main" id="{4C25E8EF-72F7-4C32-B6EC-2315B33C1D7D}"/>
              </a:ext>
            </a:extLst>
          </p:cNvPr>
          <p:cNvSpPr/>
          <p:nvPr/>
        </p:nvSpPr>
        <p:spPr>
          <a:xfrm>
            <a:off x="8955475" y="5175108"/>
            <a:ext cx="1097471" cy="4103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98051">
              <a:lnSpc>
                <a:spcPct val="95000"/>
              </a:lnSpc>
              <a:spcAft>
                <a:spcPts val="272"/>
              </a:spcAft>
              <a:defRPr/>
            </a:pPr>
            <a:r>
              <a:rPr lang="en-US" sz="1088" b="1" dirty="0">
                <a:solidFill>
                  <a:srgbClr val="008663"/>
                </a:solidFill>
                <a:latin typeface="PT Sans Narrow" panose="020B0506020203020204" pitchFamily="34" charset="-52"/>
                <a:cs typeface="Angsana New" pitchFamily="18" charset="-34"/>
              </a:rPr>
              <a:t>Joint</a:t>
            </a:r>
            <a:r>
              <a:rPr lang="ru-RU" sz="1088" b="1" dirty="0">
                <a:solidFill>
                  <a:srgbClr val="008663"/>
                </a:solidFill>
                <a:latin typeface="PT Sans Narrow" panose="020B0506020203020204" pitchFamily="34" charset="-52"/>
                <a:cs typeface="Angsana New" pitchFamily="18" charset="-34"/>
              </a:rPr>
              <a:t> </a:t>
            </a:r>
            <a:r>
              <a:rPr lang="en-US" sz="1088" b="1" dirty="0">
                <a:solidFill>
                  <a:srgbClr val="008663"/>
                </a:solidFill>
                <a:latin typeface="PT Sans Narrow" panose="020B0506020203020204" pitchFamily="34" charset="-52"/>
                <a:cs typeface="Angsana New" pitchFamily="18" charset="-34"/>
              </a:rPr>
              <a:t>digital platform:</a:t>
            </a:r>
            <a:endParaRPr lang="ru-RU" sz="1088" b="1" dirty="0">
              <a:solidFill>
                <a:srgbClr val="008663"/>
              </a:solidFill>
              <a:latin typeface="PT Sans Narrow" panose="020B0506020203020204" pitchFamily="34" charset="-52"/>
              <a:cs typeface="Angsana New" pitchFamily="18" charset="-34"/>
            </a:endParaRPr>
          </a:p>
        </p:txBody>
      </p:sp>
      <p:pic>
        <p:nvPicPr>
          <p:cNvPr id="128" name="Рисунок 127">
            <a:extLst>
              <a:ext uri="{FF2B5EF4-FFF2-40B4-BE49-F238E27FC236}">
                <a16:creationId xmlns:a16="http://schemas.microsoft.com/office/drawing/2014/main" id="{34EC7C8A-BE12-4834-BB6D-0B1CEE7C731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052946" y="4937132"/>
            <a:ext cx="652781" cy="652781"/>
          </a:xfrm>
          <a:prstGeom prst="rect">
            <a:avLst/>
          </a:prstGeom>
        </p:spPr>
      </p:pic>
      <p:sp>
        <p:nvSpPr>
          <p:cNvPr id="154" name="Прямоугольник 153">
            <a:extLst>
              <a:ext uri="{FF2B5EF4-FFF2-40B4-BE49-F238E27FC236}">
                <a16:creationId xmlns:a16="http://schemas.microsoft.com/office/drawing/2014/main" id="{55F3AD03-C17A-47D9-967E-1649C3177D38}"/>
              </a:ext>
            </a:extLst>
          </p:cNvPr>
          <p:cNvSpPr/>
          <p:nvPr/>
        </p:nvSpPr>
        <p:spPr>
          <a:xfrm>
            <a:off x="8955476" y="2845958"/>
            <a:ext cx="1273343" cy="4103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98051">
              <a:lnSpc>
                <a:spcPct val="95000"/>
              </a:lnSpc>
              <a:spcAft>
                <a:spcPts val="272"/>
              </a:spcAft>
              <a:defRPr/>
            </a:pPr>
            <a:r>
              <a:rPr lang="en-US" sz="1088" b="1" dirty="0">
                <a:solidFill>
                  <a:srgbClr val="FF0000"/>
                </a:solidFill>
                <a:latin typeface="PT Sans Narrow" panose="020B0506020203020204" pitchFamily="34" charset="-52"/>
                <a:cs typeface="Angsana New" pitchFamily="18" charset="-34"/>
              </a:rPr>
              <a:t>Coordination by phone:</a:t>
            </a:r>
            <a:endParaRPr lang="ru-RU" sz="1088" b="1" dirty="0">
              <a:solidFill>
                <a:srgbClr val="FF0000"/>
              </a:solidFill>
              <a:latin typeface="PT Sans Narrow" panose="020B0506020203020204" pitchFamily="34" charset="-52"/>
              <a:cs typeface="Angsana New" pitchFamily="18" charset="-34"/>
            </a:endParaRPr>
          </a:p>
        </p:txBody>
      </p:sp>
      <p:grpSp>
        <p:nvGrpSpPr>
          <p:cNvPr id="130" name="Группа 129">
            <a:extLst>
              <a:ext uri="{FF2B5EF4-FFF2-40B4-BE49-F238E27FC236}">
                <a16:creationId xmlns:a16="http://schemas.microsoft.com/office/drawing/2014/main" id="{A56FFDAB-0737-4C8D-8D2A-A2D7506144B0}"/>
              </a:ext>
            </a:extLst>
          </p:cNvPr>
          <p:cNvGrpSpPr/>
          <p:nvPr/>
        </p:nvGrpSpPr>
        <p:grpSpPr>
          <a:xfrm>
            <a:off x="9021972" y="3323126"/>
            <a:ext cx="1765127" cy="3112620"/>
            <a:chOff x="10070163" y="2537396"/>
            <a:chExt cx="1827714" cy="3433136"/>
          </a:xfrm>
        </p:grpSpPr>
        <p:sp>
          <p:nvSpPr>
            <p:cNvPr id="139" name="Прямоугольник 138">
              <a:extLst>
                <a:ext uri="{FF2B5EF4-FFF2-40B4-BE49-F238E27FC236}">
                  <a16:creationId xmlns:a16="http://schemas.microsoft.com/office/drawing/2014/main" id="{A4115A78-3B12-4802-8323-D8126143D1C9}"/>
                </a:ext>
              </a:extLst>
            </p:cNvPr>
            <p:cNvSpPr/>
            <p:nvPr/>
          </p:nvSpPr>
          <p:spPr>
            <a:xfrm>
              <a:off x="10070163" y="5140813"/>
              <a:ext cx="1827714" cy="829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55437" indent="-155437" defTabSz="898051">
                <a:lnSpc>
                  <a:spcPct val="95000"/>
                </a:lnSpc>
                <a:spcAft>
                  <a:spcPts val="272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997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 panose="020B0506020203020204" pitchFamily="34" charset="-52"/>
                  <a:cs typeface="Angsana New" pitchFamily="18" charset="-34"/>
                </a:rPr>
                <a:t>Minimization of manual labor</a:t>
              </a:r>
              <a:endParaRPr lang="ru-RU" sz="997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  <a:cs typeface="Angsana New" pitchFamily="18" charset="-34"/>
              </a:endParaRPr>
            </a:p>
            <a:p>
              <a:pPr marL="155437" indent="-155437" defTabSz="898051">
                <a:lnSpc>
                  <a:spcPct val="95000"/>
                </a:lnSpc>
                <a:spcAft>
                  <a:spcPts val="272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997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 panose="020B0506020203020204" pitchFamily="34" charset="-52"/>
                  <a:cs typeface="Angsana New" pitchFamily="18" charset="-34"/>
                </a:rPr>
                <a:t>Transparency and predictability of logistics</a:t>
              </a:r>
              <a:endParaRPr lang="ru-RU" sz="997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  <a:cs typeface="Angsana New" pitchFamily="18" charset="-34"/>
              </a:endParaRPr>
            </a:p>
            <a:p>
              <a:pPr marL="155437" indent="-155437" defTabSz="898051">
                <a:lnSpc>
                  <a:spcPct val="95000"/>
                </a:lnSpc>
                <a:spcAft>
                  <a:spcPts val="272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997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 panose="020B0506020203020204" pitchFamily="34" charset="-52"/>
                  <a:cs typeface="Angsana New" pitchFamily="18" charset="-34"/>
                </a:rPr>
                <a:t>Optimization</a:t>
              </a:r>
              <a:endParaRPr lang="ru-RU" sz="997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  <a:cs typeface="Angsana New" pitchFamily="18" charset="-34"/>
              </a:endParaRPr>
            </a:p>
          </p:txBody>
        </p:sp>
        <p:sp>
          <p:nvSpPr>
            <p:cNvPr id="156" name="Прямоугольник 155">
              <a:extLst>
                <a:ext uri="{FF2B5EF4-FFF2-40B4-BE49-F238E27FC236}">
                  <a16:creationId xmlns:a16="http://schemas.microsoft.com/office/drawing/2014/main" id="{D763BEE8-856D-47DF-9C25-28C73AC8E0A1}"/>
                </a:ext>
              </a:extLst>
            </p:cNvPr>
            <p:cNvSpPr/>
            <p:nvPr/>
          </p:nvSpPr>
          <p:spPr>
            <a:xfrm>
              <a:off x="10070163" y="2537396"/>
              <a:ext cx="1827714" cy="87215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55437" indent="-155437" defTabSz="898051">
                <a:lnSpc>
                  <a:spcPct val="95000"/>
                </a:lnSpc>
                <a:spcAft>
                  <a:spcPts val="272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997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 panose="020B0506020203020204" pitchFamily="34" charset="-52"/>
                  <a:cs typeface="Angsana New" pitchFamily="18" charset="-34"/>
                </a:rPr>
                <a:t>Unpredictability and delays</a:t>
              </a:r>
              <a:endParaRPr lang="ru-RU" sz="997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  <a:cs typeface="Angsana New" pitchFamily="18" charset="-34"/>
              </a:endParaRPr>
            </a:p>
            <a:p>
              <a:pPr marL="155437" indent="-155437" defTabSz="898051">
                <a:lnSpc>
                  <a:spcPct val="95000"/>
                </a:lnSpc>
                <a:spcAft>
                  <a:spcPts val="272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997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 panose="020B0506020203020204" pitchFamily="34" charset="-52"/>
                  <a:cs typeface="Angsana New" pitchFamily="18" charset="-34"/>
                </a:rPr>
                <a:t>Absence of transparency</a:t>
              </a:r>
              <a:endParaRPr lang="ru-RU" sz="997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  <a:cs typeface="Angsana New" pitchFamily="18" charset="-34"/>
              </a:endParaRPr>
            </a:p>
            <a:p>
              <a:pPr marL="155437" indent="-155437" defTabSz="898051">
                <a:lnSpc>
                  <a:spcPct val="95000"/>
                </a:lnSpc>
                <a:spcAft>
                  <a:spcPts val="272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997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 panose="020B0506020203020204" pitchFamily="34" charset="-52"/>
                  <a:cs typeface="Angsana New" pitchFamily="18" charset="-34"/>
                </a:rPr>
                <a:t>Ineffectiveness</a:t>
              </a:r>
              <a:endParaRPr lang="ru-RU" sz="997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  <a:cs typeface="Angsana New" pitchFamily="18" charset="-34"/>
              </a:endParaRPr>
            </a:p>
            <a:p>
              <a:pPr marL="155437" indent="-155437" defTabSz="898051">
                <a:lnSpc>
                  <a:spcPct val="95000"/>
                </a:lnSpc>
                <a:spcAft>
                  <a:spcPts val="272"/>
                </a:spcAft>
                <a:buFont typeface="Arial" panose="020B0604020202020204" pitchFamily="34" charset="0"/>
                <a:buChar char="•"/>
                <a:defRPr/>
              </a:pPr>
              <a:endParaRPr lang="ru-RU" sz="997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  <a:cs typeface="Angsana New" pitchFamily="18" charset="-34"/>
              </a:endParaRPr>
            </a:p>
          </p:txBody>
        </p:sp>
      </p:grpSp>
      <p:pic>
        <p:nvPicPr>
          <p:cNvPr id="129" name="Рисунок 128">
            <a:extLst>
              <a:ext uri="{FF2B5EF4-FFF2-40B4-BE49-F238E27FC236}">
                <a16:creationId xmlns:a16="http://schemas.microsoft.com/office/drawing/2014/main" id="{CF3975EB-8BD4-425E-A861-D9D0EC1C69A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052947" y="2594998"/>
            <a:ext cx="652781" cy="652781"/>
          </a:xfrm>
          <a:prstGeom prst="rect">
            <a:avLst/>
          </a:prstGeom>
        </p:spPr>
      </p:pic>
      <p:pic>
        <p:nvPicPr>
          <p:cNvPr id="131" name="Рисунок 130">
            <a:extLst>
              <a:ext uri="{FF2B5EF4-FFF2-40B4-BE49-F238E27FC236}">
                <a16:creationId xmlns:a16="http://schemas.microsoft.com/office/drawing/2014/main" id="{BF0AA32B-AE96-410A-B5F0-3C32B91B23C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953125" y="2771533"/>
            <a:ext cx="587503" cy="587503"/>
          </a:xfrm>
          <a:prstGeom prst="rect">
            <a:avLst/>
          </a:prstGeom>
        </p:spPr>
      </p:pic>
      <p:pic>
        <p:nvPicPr>
          <p:cNvPr id="157" name="Рисунок 156">
            <a:extLst>
              <a:ext uri="{FF2B5EF4-FFF2-40B4-BE49-F238E27FC236}">
                <a16:creationId xmlns:a16="http://schemas.microsoft.com/office/drawing/2014/main" id="{03251048-51AD-4CEA-90A9-E54E9DF71B0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953125" y="5296162"/>
            <a:ext cx="587503" cy="587503"/>
          </a:xfrm>
          <a:prstGeom prst="rect">
            <a:avLst/>
          </a:prstGeom>
        </p:spPr>
      </p:pic>
      <p:pic>
        <p:nvPicPr>
          <p:cNvPr id="132" name="Рисунок 131">
            <a:extLst>
              <a:ext uri="{FF2B5EF4-FFF2-40B4-BE49-F238E27FC236}">
                <a16:creationId xmlns:a16="http://schemas.microsoft.com/office/drawing/2014/main" id="{B3EA83E1-36D2-4E9C-BDF0-B6539300CD7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356743" y="5291726"/>
            <a:ext cx="587503" cy="587503"/>
          </a:xfrm>
          <a:prstGeom prst="rect">
            <a:avLst/>
          </a:prstGeom>
        </p:spPr>
      </p:pic>
      <p:pic>
        <p:nvPicPr>
          <p:cNvPr id="133" name="Рисунок 132">
            <a:extLst>
              <a:ext uri="{FF2B5EF4-FFF2-40B4-BE49-F238E27FC236}">
                <a16:creationId xmlns:a16="http://schemas.microsoft.com/office/drawing/2014/main" id="{24E2B35A-44D6-4F23-A940-751DC9C363B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053053" y="5291726"/>
            <a:ext cx="587503" cy="587503"/>
          </a:xfrm>
          <a:prstGeom prst="rect">
            <a:avLst/>
          </a:prstGeom>
        </p:spPr>
      </p:pic>
      <p:pic>
        <p:nvPicPr>
          <p:cNvPr id="134" name="Рисунок 133">
            <a:extLst>
              <a:ext uri="{FF2B5EF4-FFF2-40B4-BE49-F238E27FC236}">
                <a16:creationId xmlns:a16="http://schemas.microsoft.com/office/drawing/2014/main" id="{A214FF7B-78E5-45DF-9C65-8F207B79602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660433" y="2771533"/>
            <a:ext cx="587503" cy="587503"/>
          </a:xfrm>
          <a:prstGeom prst="rect">
            <a:avLst/>
          </a:prstGeom>
        </p:spPr>
      </p:pic>
      <p:pic>
        <p:nvPicPr>
          <p:cNvPr id="135" name="Рисунок 134">
            <a:extLst>
              <a:ext uri="{FF2B5EF4-FFF2-40B4-BE49-F238E27FC236}">
                <a16:creationId xmlns:a16="http://schemas.microsoft.com/office/drawing/2014/main" id="{A2FE7B00-220F-410C-BA2E-D8448A3A00C9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356743" y="2771533"/>
            <a:ext cx="587503" cy="587503"/>
          </a:xfrm>
          <a:prstGeom prst="rect">
            <a:avLst/>
          </a:prstGeom>
        </p:spPr>
      </p:pic>
      <p:pic>
        <p:nvPicPr>
          <p:cNvPr id="158" name="Рисунок 157">
            <a:extLst>
              <a:ext uri="{FF2B5EF4-FFF2-40B4-BE49-F238E27FC236}">
                <a16:creationId xmlns:a16="http://schemas.microsoft.com/office/drawing/2014/main" id="{4CF5FB91-BAB2-4FD1-ADF1-7391E35C2A0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053053" y="2771533"/>
            <a:ext cx="587503" cy="587503"/>
          </a:xfrm>
          <a:prstGeom prst="rect">
            <a:avLst/>
          </a:prstGeom>
        </p:spPr>
      </p:pic>
      <p:pic>
        <p:nvPicPr>
          <p:cNvPr id="159" name="Рисунок 158">
            <a:extLst>
              <a:ext uri="{FF2B5EF4-FFF2-40B4-BE49-F238E27FC236}">
                <a16:creationId xmlns:a16="http://schemas.microsoft.com/office/drawing/2014/main" id="{500486D4-E34D-4E5A-BE77-FC90E071CCA7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4660433" y="5291726"/>
            <a:ext cx="587503" cy="587503"/>
          </a:xfrm>
          <a:prstGeom prst="rect">
            <a:avLst/>
          </a:prstGeom>
        </p:spPr>
      </p:pic>
      <p:sp>
        <p:nvSpPr>
          <p:cNvPr id="59" name="Полилиния 10">
            <a:extLst>
              <a:ext uri="{FF2B5EF4-FFF2-40B4-BE49-F238E27FC236}">
                <a16:creationId xmlns:a16="http://schemas.microsoft.com/office/drawing/2014/main" id="{5E97D700-9DAB-48DF-B7F3-B8046A04A013}"/>
              </a:ext>
            </a:extLst>
          </p:cNvPr>
          <p:cNvSpPr/>
          <p:nvPr/>
        </p:nvSpPr>
        <p:spPr>
          <a:xfrm>
            <a:off x="6718423" y="331336"/>
            <a:ext cx="4337812" cy="438410"/>
          </a:xfrm>
          <a:custGeom>
            <a:avLst/>
            <a:gdLst>
              <a:gd name="connsiteX0" fmla="*/ 76200 w 3352800"/>
              <a:gd name="connsiteY0" fmla="*/ 0 h 438150"/>
              <a:gd name="connsiteX1" fmla="*/ 3352800 w 3352800"/>
              <a:gd name="connsiteY1" fmla="*/ 9525 h 438150"/>
              <a:gd name="connsiteX2" fmla="*/ 3352800 w 3352800"/>
              <a:gd name="connsiteY2" fmla="*/ 438150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52800"/>
              <a:gd name="connsiteY0" fmla="*/ 0 h 438150"/>
              <a:gd name="connsiteX1" fmla="*/ 3343275 w 3352800"/>
              <a:gd name="connsiteY1" fmla="*/ 0 h 438150"/>
              <a:gd name="connsiteX2" fmla="*/ 3352800 w 3352800"/>
              <a:gd name="connsiteY2" fmla="*/ 438150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43275"/>
              <a:gd name="connsiteY0" fmla="*/ 0 h 438150"/>
              <a:gd name="connsiteX1" fmla="*/ 3343275 w 3343275"/>
              <a:gd name="connsiteY1" fmla="*/ 0 h 438150"/>
              <a:gd name="connsiteX2" fmla="*/ 3333750 w 3343275"/>
              <a:gd name="connsiteY2" fmla="*/ 438150 h 438150"/>
              <a:gd name="connsiteX3" fmla="*/ 0 w 3343275"/>
              <a:gd name="connsiteY3" fmla="*/ 438150 h 438150"/>
              <a:gd name="connsiteX4" fmla="*/ 76200 w 3343275"/>
              <a:gd name="connsiteY4" fmla="*/ 0 h 438150"/>
              <a:gd name="connsiteX0" fmla="*/ 76200 w 3352800"/>
              <a:gd name="connsiteY0" fmla="*/ 0 h 438150"/>
              <a:gd name="connsiteX1" fmla="*/ 3343275 w 3352800"/>
              <a:gd name="connsiteY1" fmla="*/ 0 h 438150"/>
              <a:gd name="connsiteX2" fmla="*/ 3352800 w 3352800"/>
              <a:gd name="connsiteY2" fmla="*/ 428625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43275"/>
              <a:gd name="connsiteY0" fmla="*/ 0 h 447675"/>
              <a:gd name="connsiteX1" fmla="*/ 3343275 w 3343275"/>
              <a:gd name="connsiteY1" fmla="*/ 0 h 447675"/>
              <a:gd name="connsiteX2" fmla="*/ 3333750 w 3343275"/>
              <a:gd name="connsiteY2" fmla="*/ 447675 h 447675"/>
              <a:gd name="connsiteX3" fmla="*/ 0 w 3343275"/>
              <a:gd name="connsiteY3" fmla="*/ 438150 h 447675"/>
              <a:gd name="connsiteX4" fmla="*/ 76200 w 3343275"/>
              <a:gd name="connsiteY4" fmla="*/ 0 h 447675"/>
              <a:gd name="connsiteX0" fmla="*/ 76200 w 3343275"/>
              <a:gd name="connsiteY0" fmla="*/ 0 h 438150"/>
              <a:gd name="connsiteX1" fmla="*/ 3343275 w 3343275"/>
              <a:gd name="connsiteY1" fmla="*/ 0 h 438150"/>
              <a:gd name="connsiteX2" fmla="*/ 3343275 w 3343275"/>
              <a:gd name="connsiteY2" fmla="*/ 438150 h 438150"/>
              <a:gd name="connsiteX3" fmla="*/ 0 w 3343275"/>
              <a:gd name="connsiteY3" fmla="*/ 438150 h 438150"/>
              <a:gd name="connsiteX4" fmla="*/ 76200 w 3343275"/>
              <a:gd name="connsiteY4" fmla="*/ 0 h 438150"/>
              <a:gd name="connsiteX0" fmla="*/ 144439 w 3411514"/>
              <a:gd name="connsiteY0" fmla="*/ 0 h 438150"/>
              <a:gd name="connsiteX1" fmla="*/ 3411514 w 3411514"/>
              <a:gd name="connsiteY1" fmla="*/ 0 h 438150"/>
              <a:gd name="connsiteX2" fmla="*/ 3411514 w 3411514"/>
              <a:gd name="connsiteY2" fmla="*/ 438150 h 438150"/>
              <a:gd name="connsiteX3" fmla="*/ 0 w 3411514"/>
              <a:gd name="connsiteY3" fmla="*/ 438150 h 438150"/>
              <a:gd name="connsiteX4" fmla="*/ 144439 w 3411514"/>
              <a:gd name="connsiteY4" fmla="*/ 0 h 438150"/>
              <a:gd name="connsiteX0" fmla="*/ 117143 w 3384218"/>
              <a:gd name="connsiteY0" fmla="*/ 0 h 438150"/>
              <a:gd name="connsiteX1" fmla="*/ 3384218 w 3384218"/>
              <a:gd name="connsiteY1" fmla="*/ 0 h 438150"/>
              <a:gd name="connsiteX2" fmla="*/ 3384218 w 3384218"/>
              <a:gd name="connsiteY2" fmla="*/ 438150 h 438150"/>
              <a:gd name="connsiteX3" fmla="*/ 0 w 3384218"/>
              <a:gd name="connsiteY3" fmla="*/ 438150 h 438150"/>
              <a:gd name="connsiteX4" fmla="*/ 117143 w 3384218"/>
              <a:gd name="connsiteY4" fmla="*/ 0 h 438150"/>
              <a:gd name="connsiteX0" fmla="*/ 117143 w 4325913"/>
              <a:gd name="connsiteY0" fmla="*/ 0 h 438150"/>
              <a:gd name="connsiteX1" fmla="*/ 4325913 w 4325913"/>
              <a:gd name="connsiteY1" fmla="*/ 0 h 438150"/>
              <a:gd name="connsiteX2" fmla="*/ 3384218 w 4325913"/>
              <a:gd name="connsiteY2" fmla="*/ 438150 h 438150"/>
              <a:gd name="connsiteX3" fmla="*/ 0 w 4325913"/>
              <a:gd name="connsiteY3" fmla="*/ 438150 h 438150"/>
              <a:gd name="connsiteX4" fmla="*/ 117143 w 4325913"/>
              <a:gd name="connsiteY4" fmla="*/ 0 h 438150"/>
              <a:gd name="connsiteX0" fmla="*/ 117143 w 4325913"/>
              <a:gd name="connsiteY0" fmla="*/ 0 h 451798"/>
              <a:gd name="connsiteX1" fmla="*/ 4325913 w 4325913"/>
              <a:gd name="connsiteY1" fmla="*/ 0 h 451798"/>
              <a:gd name="connsiteX2" fmla="*/ 4312266 w 4325913"/>
              <a:gd name="connsiteY2" fmla="*/ 451798 h 451798"/>
              <a:gd name="connsiteX3" fmla="*/ 0 w 4325913"/>
              <a:gd name="connsiteY3" fmla="*/ 438150 h 451798"/>
              <a:gd name="connsiteX4" fmla="*/ 117143 w 4325913"/>
              <a:gd name="connsiteY4" fmla="*/ 0 h 451798"/>
              <a:gd name="connsiteX0" fmla="*/ 117143 w 4325914"/>
              <a:gd name="connsiteY0" fmla="*/ 0 h 438150"/>
              <a:gd name="connsiteX1" fmla="*/ 4325913 w 4325914"/>
              <a:gd name="connsiteY1" fmla="*/ 0 h 438150"/>
              <a:gd name="connsiteX2" fmla="*/ 4325914 w 4325914"/>
              <a:gd name="connsiteY2" fmla="*/ 438150 h 438150"/>
              <a:gd name="connsiteX3" fmla="*/ 0 w 4325914"/>
              <a:gd name="connsiteY3" fmla="*/ 438150 h 438150"/>
              <a:gd name="connsiteX4" fmla="*/ 117143 w 4325914"/>
              <a:gd name="connsiteY4" fmla="*/ 0 h 438150"/>
              <a:gd name="connsiteX0" fmla="*/ 117143 w 4339562"/>
              <a:gd name="connsiteY0" fmla="*/ 0 h 451797"/>
              <a:gd name="connsiteX1" fmla="*/ 4325913 w 4339562"/>
              <a:gd name="connsiteY1" fmla="*/ 0 h 451797"/>
              <a:gd name="connsiteX2" fmla="*/ 4339562 w 4339562"/>
              <a:gd name="connsiteY2" fmla="*/ 451797 h 451797"/>
              <a:gd name="connsiteX3" fmla="*/ 0 w 4339562"/>
              <a:gd name="connsiteY3" fmla="*/ 438150 h 451797"/>
              <a:gd name="connsiteX4" fmla="*/ 117143 w 4339562"/>
              <a:gd name="connsiteY4" fmla="*/ 0 h 451797"/>
              <a:gd name="connsiteX0" fmla="*/ 117143 w 4325913"/>
              <a:gd name="connsiteY0" fmla="*/ 0 h 451797"/>
              <a:gd name="connsiteX1" fmla="*/ 4325913 w 4325913"/>
              <a:gd name="connsiteY1" fmla="*/ 0 h 451797"/>
              <a:gd name="connsiteX2" fmla="*/ 4312266 w 4325913"/>
              <a:gd name="connsiteY2" fmla="*/ 451797 h 451797"/>
              <a:gd name="connsiteX3" fmla="*/ 0 w 4325913"/>
              <a:gd name="connsiteY3" fmla="*/ 438150 h 451797"/>
              <a:gd name="connsiteX4" fmla="*/ 117143 w 4325913"/>
              <a:gd name="connsiteY4" fmla="*/ 0 h 451797"/>
              <a:gd name="connsiteX0" fmla="*/ 117143 w 4325914"/>
              <a:gd name="connsiteY0" fmla="*/ 0 h 438150"/>
              <a:gd name="connsiteX1" fmla="*/ 4325913 w 4325914"/>
              <a:gd name="connsiteY1" fmla="*/ 0 h 438150"/>
              <a:gd name="connsiteX2" fmla="*/ 4325914 w 4325914"/>
              <a:gd name="connsiteY2" fmla="*/ 424502 h 438150"/>
              <a:gd name="connsiteX3" fmla="*/ 0 w 4325914"/>
              <a:gd name="connsiteY3" fmla="*/ 438150 h 438150"/>
              <a:gd name="connsiteX4" fmla="*/ 117143 w 4325914"/>
              <a:gd name="connsiteY4" fmla="*/ 0 h 438150"/>
              <a:gd name="connsiteX0" fmla="*/ 117143 w 4325913"/>
              <a:gd name="connsiteY0" fmla="*/ 0 h 438409"/>
              <a:gd name="connsiteX1" fmla="*/ 4325913 w 4325913"/>
              <a:gd name="connsiteY1" fmla="*/ 0 h 438409"/>
              <a:gd name="connsiteX2" fmla="*/ 4318960 w 4325913"/>
              <a:gd name="connsiteY2" fmla="*/ 438409 h 438409"/>
              <a:gd name="connsiteX3" fmla="*/ 0 w 4325913"/>
              <a:gd name="connsiteY3" fmla="*/ 438150 h 438409"/>
              <a:gd name="connsiteX4" fmla="*/ 117143 w 4325913"/>
              <a:gd name="connsiteY4" fmla="*/ 0 h 438409"/>
              <a:gd name="connsiteX0" fmla="*/ 154850 w 4325913"/>
              <a:gd name="connsiteY0" fmla="*/ 9427 h 438409"/>
              <a:gd name="connsiteX1" fmla="*/ 4325913 w 4325913"/>
              <a:gd name="connsiteY1" fmla="*/ 0 h 438409"/>
              <a:gd name="connsiteX2" fmla="*/ 4318960 w 4325913"/>
              <a:gd name="connsiteY2" fmla="*/ 438409 h 438409"/>
              <a:gd name="connsiteX3" fmla="*/ 0 w 4325913"/>
              <a:gd name="connsiteY3" fmla="*/ 438150 h 438409"/>
              <a:gd name="connsiteX4" fmla="*/ 154850 w 4325913"/>
              <a:gd name="connsiteY4" fmla="*/ 9427 h 438409"/>
              <a:gd name="connsiteX0" fmla="*/ 117143 w 4288206"/>
              <a:gd name="connsiteY0" fmla="*/ 9427 h 438409"/>
              <a:gd name="connsiteX1" fmla="*/ 4288206 w 4288206"/>
              <a:gd name="connsiteY1" fmla="*/ 0 h 438409"/>
              <a:gd name="connsiteX2" fmla="*/ 4281253 w 4288206"/>
              <a:gd name="connsiteY2" fmla="*/ 438409 h 438409"/>
              <a:gd name="connsiteX3" fmla="*/ 0 w 4288206"/>
              <a:gd name="connsiteY3" fmla="*/ 428723 h 438409"/>
              <a:gd name="connsiteX4" fmla="*/ 117143 w 4288206"/>
              <a:gd name="connsiteY4" fmla="*/ 9427 h 438409"/>
              <a:gd name="connsiteX0" fmla="*/ 126570 w 4288206"/>
              <a:gd name="connsiteY0" fmla="*/ 0 h 438409"/>
              <a:gd name="connsiteX1" fmla="*/ 4288206 w 4288206"/>
              <a:gd name="connsiteY1" fmla="*/ 0 h 438409"/>
              <a:gd name="connsiteX2" fmla="*/ 4281253 w 4288206"/>
              <a:gd name="connsiteY2" fmla="*/ 438409 h 438409"/>
              <a:gd name="connsiteX3" fmla="*/ 0 w 4288206"/>
              <a:gd name="connsiteY3" fmla="*/ 428723 h 438409"/>
              <a:gd name="connsiteX4" fmla="*/ 126570 w 4288206"/>
              <a:gd name="connsiteY4" fmla="*/ 0 h 438409"/>
              <a:gd name="connsiteX0" fmla="*/ 107716 w 4269352"/>
              <a:gd name="connsiteY0" fmla="*/ 0 h 438409"/>
              <a:gd name="connsiteX1" fmla="*/ 4269352 w 4269352"/>
              <a:gd name="connsiteY1" fmla="*/ 0 h 438409"/>
              <a:gd name="connsiteX2" fmla="*/ 4262399 w 4269352"/>
              <a:gd name="connsiteY2" fmla="*/ 438409 h 438409"/>
              <a:gd name="connsiteX3" fmla="*/ 0 w 4269352"/>
              <a:gd name="connsiteY3" fmla="*/ 428723 h 438409"/>
              <a:gd name="connsiteX4" fmla="*/ 107716 w 4269352"/>
              <a:gd name="connsiteY4" fmla="*/ 0 h 438409"/>
              <a:gd name="connsiteX0" fmla="*/ 126569 w 4288205"/>
              <a:gd name="connsiteY0" fmla="*/ 0 h 438409"/>
              <a:gd name="connsiteX1" fmla="*/ 4288205 w 4288205"/>
              <a:gd name="connsiteY1" fmla="*/ 0 h 438409"/>
              <a:gd name="connsiteX2" fmla="*/ 4281252 w 4288205"/>
              <a:gd name="connsiteY2" fmla="*/ 438409 h 438409"/>
              <a:gd name="connsiteX3" fmla="*/ 0 w 4288205"/>
              <a:gd name="connsiteY3" fmla="*/ 428723 h 438409"/>
              <a:gd name="connsiteX4" fmla="*/ 126569 w 4288205"/>
              <a:gd name="connsiteY4" fmla="*/ 0 h 438409"/>
              <a:gd name="connsiteX0" fmla="*/ 126569 w 4288205"/>
              <a:gd name="connsiteY0" fmla="*/ 0 h 438409"/>
              <a:gd name="connsiteX1" fmla="*/ 4288205 w 4288205"/>
              <a:gd name="connsiteY1" fmla="*/ 0 h 438409"/>
              <a:gd name="connsiteX2" fmla="*/ 4281252 w 4288205"/>
              <a:gd name="connsiteY2" fmla="*/ 438409 h 438409"/>
              <a:gd name="connsiteX3" fmla="*/ 0 w 4288205"/>
              <a:gd name="connsiteY3" fmla="*/ 428723 h 438409"/>
              <a:gd name="connsiteX4" fmla="*/ 126569 w 4288205"/>
              <a:gd name="connsiteY4" fmla="*/ 0 h 438409"/>
              <a:gd name="connsiteX0" fmla="*/ 135995 w 4297631"/>
              <a:gd name="connsiteY0" fmla="*/ 0 h 438409"/>
              <a:gd name="connsiteX1" fmla="*/ 4297631 w 4297631"/>
              <a:gd name="connsiteY1" fmla="*/ 0 h 438409"/>
              <a:gd name="connsiteX2" fmla="*/ 4290678 w 4297631"/>
              <a:gd name="connsiteY2" fmla="*/ 438409 h 438409"/>
              <a:gd name="connsiteX3" fmla="*/ 0 w 4297631"/>
              <a:gd name="connsiteY3" fmla="*/ 438150 h 438409"/>
              <a:gd name="connsiteX4" fmla="*/ 135995 w 4297631"/>
              <a:gd name="connsiteY4" fmla="*/ 0 h 438409"/>
              <a:gd name="connsiteX0" fmla="*/ 135995 w 4309531"/>
              <a:gd name="connsiteY0" fmla="*/ 0 h 438150"/>
              <a:gd name="connsiteX1" fmla="*/ 4297631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16484"/>
              <a:gd name="connsiteY0" fmla="*/ 0 h 438150"/>
              <a:gd name="connsiteX1" fmla="*/ 4316484 w 4316484"/>
              <a:gd name="connsiteY1" fmla="*/ 0 h 438150"/>
              <a:gd name="connsiteX2" fmla="*/ 4309531 w 4316484"/>
              <a:gd name="connsiteY2" fmla="*/ 428983 h 438150"/>
              <a:gd name="connsiteX3" fmla="*/ 0 w 4316484"/>
              <a:gd name="connsiteY3" fmla="*/ 438150 h 438150"/>
              <a:gd name="connsiteX4" fmla="*/ 135995 w 4316484"/>
              <a:gd name="connsiteY4" fmla="*/ 0 h 438150"/>
              <a:gd name="connsiteX0" fmla="*/ 135995 w 4309531"/>
              <a:gd name="connsiteY0" fmla="*/ 0 h 438150"/>
              <a:gd name="connsiteX1" fmla="*/ 4307057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09531"/>
              <a:gd name="connsiteY0" fmla="*/ 0 h 438150"/>
              <a:gd name="connsiteX1" fmla="*/ 4307057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07057"/>
              <a:gd name="connsiteY0" fmla="*/ 0 h 438410"/>
              <a:gd name="connsiteX1" fmla="*/ 4307057 w 4307057"/>
              <a:gd name="connsiteY1" fmla="*/ 0 h 438410"/>
              <a:gd name="connsiteX2" fmla="*/ 4300104 w 4307057"/>
              <a:gd name="connsiteY2" fmla="*/ 438410 h 438410"/>
              <a:gd name="connsiteX3" fmla="*/ 0 w 4307057"/>
              <a:gd name="connsiteY3" fmla="*/ 438150 h 438410"/>
              <a:gd name="connsiteX4" fmla="*/ 135995 w 4307057"/>
              <a:gd name="connsiteY4" fmla="*/ 0 h 438410"/>
              <a:gd name="connsiteX0" fmla="*/ 135995 w 4300104"/>
              <a:gd name="connsiteY0" fmla="*/ 0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135995 w 4300104"/>
              <a:gd name="connsiteY4" fmla="*/ 0 h 438410"/>
              <a:gd name="connsiteX0" fmla="*/ 88861 w 4300104"/>
              <a:gd name="connsiteY0" fmla="*/ 9427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88861 w 4300104"/>
              <a:gd name="connsiteY4" fmla="*/ 9427 h 438410"/>
              <a:gd name="connsiteX0" fmla="*/ 88861 w 4300104"/>
              <a:gd name="connsiteY0" fmla="*/ 9427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88861 w 4300104"/>
              <a:gd name="connsiteY4" fmla="*/ 9427 h 438410"/>
              <a:gd name="connsiteX0" fmla="*/ 98288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98288 w 4309531"/>
              <a:gd name="connsiteY4" fmla="*/ 9427 h 438410"/>
              <a:gd name="connsiteX0" fmla="*/ 98288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98288 w 4309531"/>
              <a:gd name="connsiteY4" fmla="*/ 9427 h 438410"/>
              <a:gd name="connsiteX0" fmla="*/ 79434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9427 h 438410"/>
              <a:gd name="connsiteX0" fmla="*/ 79434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9427 h 438410"/>
              <a:gd name="connsiteX0" fmla="*/ 79434 w 4309531"/>
              <a:gd name="connsiteY0" fmla="*/ 4832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4832 h 438410"/>
              <a:gd name="connsiteX0" fmla="*/ 88624 w 4309531"/>
              <a:gd name="connsiteY0" fmla="*/ 4832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88624 w 4309531"/>
              <a:gd name="connsiteY4" fmla="*/ 4832 h 438410"/>
              <a:gd name="connsiteX0" fmla="*/ 74839 w 4309531"/>
              <a:gd name="connsiteY0" fmla="*/ 23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4839 w 4309531"/>
              <a:gd name="connsiteY4" fmla="*/ 237 h 438410"/>
              <a:gd name="connsiteX0" fmla="*/ 103120 w 4337812"/>
              <a:gd name="connsiteY0" fmla="*/ 237 h 438410"/>
              <a:gd name="connsiteX1" fmla="*/ 4335712 w 4337812"/>
              <a:gd name="connsiteY1" fmla="*/ 0 h 438410"/>
              <a:gd name="connsiteX2" fmla="*/ 4337812 w 4337812"/>
              <a:gd name="connsiteY2" fmla="*/ 438410 h 438410"/>
              <a:gd name="connsiteX3" fmla="*/ 0 w 4337812"/>
              <a:gd name="connsiteY3" fmla="*/ 428723 h 438410"/>
              <a:gd name="connsiteX4" fmla="*/ 103120 w 4337812"/>
              <a:gd name="connsiteY4" fmla="*/ 237 h 438410"/>
              <a:gd name="connsiteX0" fmla="*/ 103120 w 4337812"/>
              <a:gd name="connsiteY0" fmla="*/ 237 h 447577"/>
              <a:gd name="connsiteX1" fmla="*/ 4335712 w 4337812"/>
              <a:gd name="connsiteY1" fmla="*/ 0 h 447577"/>
              <a:gd name="connsiteX2" fmla="*/ 4337812 w 4337812"/>
              <a:gd name="connsiteY2" fmla="*/ 438410 h 447577"/>
              <a:gd name="connsiteX3" fmla="*/ 0 w 4337812"/>
              <a:gd name="connsiteY3" fmla="*/ 447577 h 447577"/>
              <a:gd name="connsiteX4" fmla="*/ 103120 w 4337812"/>
              <a:gd name="connsiteY4" fmla="*/ 237 h 447577"/>
              <a:gd name="connsiteX0" fmla="*/ 103120 w 4337812"/>
              <a:gd name="connsiteY0" fmla="*/ 237 h 447577"/>
              <a:gd name="connsiteX1" fmla="*/ 4335712 w 4337812"/>
              <a:gd name="connsiteY1" fmla="*/ 0 h 447577"/>
              <a:gd name="connsiteX2" fmla="*/ 4337812 w 4337812"/>
              <a:gd name="connsiteY2" fmla="*/ 438410 h 447577"/>
              <a:gd name="connsiteX3" fmla="*/ 0 w 4337812"/>
              <a:gd name="connsiteY3" fmla="*/ 447577 h 447577"/>
              <a:gd name="connsiteX4" fmla="*/ 103120 w 4337812"/>
              <a:gd name="connsiteY4" fmla="*/ 237 h 447577"/>
              <a:gd name="connsiteX0" fmla="*/ 103120 w 4337812"/>
              <a:gd name="connsiteY0" fmla="*/ 237 h 438410"/>
              <a:gd name="connsiteX1" fmla="*/ 4335712 w 4337812"/>
              <a:gd name="connsiteY1" fmla="*/ 0 h 438410"/>
              <a:gd name="connsiteX2" fmla="*/ 4337812 w 4337812"/>
              <a:gd name="connsiteY2" fmla="*/ 438410 h 438410"/>
              <a:gd name="connsiteX3" fmla="*/ 0 w 4337812"/>
              <a:gd name="connsiteY3" fmla="*/ 438150 h 438410"/>
              <a:gd name="connsiteX4" fmla="*/ 103120 w 4337812"/>
              <a:gd name="connsiteY4" fmla="*/ 237 h 438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37812" h="438410">
                <a:moveTo>
                  <a:pt x="103120" y="237"/>
                </a:moveTo>
                <a:lnTo>
                  <a:pt x="4335712" y="0"/>
                </a:lnTo>
                <a:cubicBezTo>
                  <a:pt x="4335712" y="146050"/>
                  <a:pt x="4337812" y="292360"/>
                  <a:pt x="4337812" y="438410"/>
                </a:cubicBezTo>
                <a:lnTo>
                  <a:pt x="0" y="438150"/>
                </a:lnTo>
                <a:lnTo>
                  <a:pt x="103120" y="237"/>
                </a:lnTo>
                <a:close/>
              </a:path>
            </a:pathLst>
          </a:custGeom>
          <a:solidFill>
            <a:srgbClr val="3D49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chemeClr val="bg1"/>
                </a:solidFill>
                <a:latin typeface="PT Sans Narrow" panose="020B0604020202020204" charset="-52"/>
              </a:rPr>
              <a:t>DIGITAL LOGISTICS PLATFORM</a:t>
            </a:r>
            <a:endParaRPr lang="ru-RU" sz="1600" b="1" dirty="0">
              <a:solidFill>
                <a:schemeClr val="bg1"/>
              </a:solidFill>
              <a:latin typeface="PT Sans Narrow" panose="020B0604020202020204" charset="-52"/>
            </a:endParaRPr>
          </a:p>
        </p:txBody>
      </p:sp>
      <p:sp>
        <p:nvSpPr>
          <p:cNvPr id="61" name="Полилиния 11">
            <a:extLst>
              <a:ext uri="{FF2B5EF4-FFF2-40B4-BE49-F238E27FC236}">
                <a16:creationId xmlns:a16="http://schemas.microsoft.com/office/drawing/2014/main" id="{373AF6F1-6D72-407F-8E28-89B03F1F4245}"/>
              </a:ext>
            </a:extLst>
          </p:cNvPr>
          <p:cNvSpPr/>
          <p:nvPr/>
        </p:nvSpPr>
        <p:spPr>
          <a:xfrm>
            <a:off x="659" y="331336"/>
            <a:ext cx="695325" cy="2776047"/>
          </a:xfrm>
          <a:custGeom>
            <a:avLst/>
            <a:gdLst>
              <a:gd name="connsiteX0" fmla="*/ 0 w 657225"/>
              <a:gd name="connsiteY0" fmla="*/ 0 h 2162175"/>
              <a:gd name="connsiteX1" fmla="*/ 657225 w 657225"/>
              <a:gd name="connsiteY1" fmla="*/ 9525 h 2162175"/>
              <a:gd name="connsiteX2" fmla="*/ 19050 w 657225"/>
              <a:gd name="connsiteY2" fmla="*/ 2162175 h 2162175"/>
              <a:gd name="connsiteX3" fmla="*/ 0 w 657225"/>
              <a:gd name="connsiteY3" fmla="*/ 0 h 2162175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52992"/>
              <a:gd name="connsiteX1" fmla="*/ 657225 w 657225"/>
              <a:gd name="connsiteY1" fmla="*/ 9525 h 2152992"/>
              <a:gd name="connsiteX2" fmla="*/ 0 w 657225"/>
              <a:gd name="connsiteY2" fmla="*/ 2152992 h 2152992"/>
              <a:gd name="connsiteX3" fmla="*/ 0 w 657225"/>
              <a:gd name="connsiteY3" fmla="*/ 0 h 2152992"/>
              <a:gd name="connsiteX0" fmla="*/ 0 w 657225"/>
              <a:gd name="connsiteY0" fmla="*/ 17738 h 2170730"/>
              <a:gd name="connsiteX1" fmla="*/ 657225 w 657225"/>
              <a:gd name="connsiteY1" fmla="*/ 0 h 2170730"/>
              <a:gd name="connsiteX2" fmla="*/ 0 w 657225"/>
              <a:gd name="connsiteY2" fmla="*/ 2170730 h 2170730"/>
              <a:gd name="connsiteX3" fmla="*/ 0 w 657225"/>
              <a:gd name="connsiteY3" fmla="*/ 17738 h 2170730"/>
              <a:gd name="connsiteX0" fmla="*/ 0 w 657225"/>
              <a:gd name="connsiteY0" fmla="*/ 0 h 2171168"/>
              <a:gd name="connsiteX1" fmla="*/ 657225 w 657225"/>
              <a:gd name="connsiteY1" fmla="*/ 438 h 2171168"/>
              <a:gd name="connsiteX2" fmla="*/ 0 w 657225"/>
              <a:gd name="connsiteY2" fmla="*/ 2171168 h 2171168"/>
              <a:gd name="connsiteX3" fmla="*/ 0 w 657225"/>
              <a:gd name="connsiteY3" fmla="*/ 0 h 2171168"/>
              <a:gd name="connsiteX0" fmla="*/ 0 w 695325"/>
              <a:gd name="connsiteY0" fmla="*/ 0 h 2171168"/>
              <a:gd name="connsiteX1" fmla="*/ 695325 w 695325"/>
              <a:gd name="connsiteY1" fmla="*/ 438 h 2171168"/>
              <a:gd name="connsiteX2" fmla="*/ 0 w 695325"/>
              <a:gd name="connsiteY2" fmla="*/ 2171168 h 2171168"/>
              <a:gd name="connsiteX3" fmla="*/ 0 w 695325"/>
              <a:gd name="connsiteY3" fmla="*/ 0 h 2171168"/>
              <a:gd name="connsiteX0" fmla="*/ 9525 w 704850"/>
              <a:gd name="connsiteY0" fmla="*/ 0 h 2676201"/>
              <a:gd name="connsiteX1" fmla="*/ 704850 w 704850"/>
              <a:gd name="connsiteY1" fmla="*/ 438 h 2676201"/>
              <a:gd name="connsiteX2" fmla="*/ 0 w 704850"/>
              <a:gd name="connsiteY2" fmla="*/ 2676201 h 2676201"/>
              <a:gd name="connsiteX3" fmla="*/ 9525 w 704850"/>
              <a:gd name="connsiteY3" fmla="*/ 0 h 2676201"/>
              <a:gd name="connsiteX0" fmla="*/ 0 w 695325"/>
              <a:gd name="connsiteY0" fmla="*/ 0 h 2667019"/>
              <a:gd name="connsiteX1" fmla="*/ 695325 w 695325"/>
              <a:gd name="connsiteY1" fmla="*/ 438 h 2667019"/>
              <a:gd name="connsiteX2" fmla="*/ 9525 w 695325"/>
              <a:gd name="connsiteY2" fmla="*/ 2667019 h 2667019"/>
              <a:gd name="connsiteX3" fmla="*/ 0 w 695325"/>
              <a:gd name="connsiteY3" fmla="*/ 0 h 2667019"/>
              <a:gd name="connsiteX0" fmla="*/ 0 w 695325"/>
              <a:gd name="connsiteY0" fmla="*/ 0 h 2667019"/>
              <a:gd name="connsiteX1" fmla="*/ 695325 w 695325"/>
              <a:gd name="connsiteY1" fmla="*/ 438 h 2667019"/>
              <a:gd name="connsiteX2" fmla="*/ 9525 w 695325"/>
              <a:gd name="connsiteY2" fmla="*/ 2667019 h 2667019"/>
              <a:gd name="connsiteX3" fmla="*/ 0 w 695325"/>
              <a:gd name="connsiteY3" fmla="*/ 0 h 2667019"/>
              <a:gd name="connsiteX0" fmla="*/ 0 w 695325"/>
              <a:gd name="connsiteY0" fmla="*/ 0 h 2676201"/>
              <a:gd name="connsiteX1" fmla="*/ 695325 w 695325"/>
              <a:gd name="connsiteY1" fmla="*/ 438 h 2676201"/>
              <a:gd name="connsiteX2" fmla="*/ 0 w 695325"/>
              <a:gd name="connsiteY2" fmla="*/ 2676201 h 2676201"/>
              <a:gd name="connsiteX3" fmla="*/ 0 w 695325"/>
              <a:gd name="connsiteY3" fmla="*/ 0 h 2676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325" h="2676201">
                <a:moveTo>
                  <a:pt x="0" y="0"/>
                </a:moveTo>
                <a:lnTo>
                  <a:pt x="695325" y="438"/>
                </a:lnTo>
                <a:lnTo>
                  <a:pt x="0" y="2676201"/>
                </a:lnTo>
                <a:lnTo>
                  <a:pt x="0" y="0"/>
                </a:lnTo>
                <a:close/>
              </a:path>
            </a:pathLst>
          </a:custGeom>
          <a:solidFill>
            <a:srgbClr val="9829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2" name="Полилиния 12">
            <a:extLst>
              <a:ext uri="{FF2B5EF4-FFF2-40B4-BE49-F238E27FC236}">
                <a16:creationId xmlns:a16="http://schemas.microsoft.com/office/drawing/2014/main" id="{D6C76E03-0D6F-435F-9CA0-DAF59E456423}"/>
              </a:ext>
            </a:extLst>
          </p:cNvPr>
          <p:cNvSpPr/>
          <p:nvPr/>
        </p:nvSpPr>
        <p:spPr>
          <a:xfrm>
            <a:off x="0" y="0"/>
            <a:ext cx="428625" cy="1743075"/>
          </a:xfrm>
          <a:custGeom>
            <a:avLst/>
            <a:gdLst>
              <a:gd name="connsiteX0" fmla="*/ 0 w 447675"/>
              <a:gd name="connsiteY0" fmla="*/ 0 h 1447800"/>
              <a:gd name="connsiteX1" fmla="*/ 447675 w 447675"/>
              <a:gd name="connsiteY1" fmla="*/ 0 h 1447800"/>
              <a:gd name="connsiteX2" fmla="*/ 19050 w 447675"/>
              <a:gd name="connsiteY2" fmla="*/ 1447800 h 1447800"/>
              <a:gd name="connsiteX3" fmla="*/ 0 w 447675"/>
              <a:gd name="connsiteY3" fmla="*/ 0 h 1447800"/>
              <a:gd name="connsiteX0" fmla="*/ 0 w 447675"/>
              <a:gd name="connsiteY0" fmla="*/ 0 h 1476375"/>
              <a:gd name="connsiteX1" fmla="*/ 447675 w 447675"/>
              <a:gd name="connsiteY1" fmla="*/ 0 h 1476375"/>
              <a:gd name="connsiteX2" fmla="*/ 9525 w 447675"/>
              <a:gd name="connsiteY2" fmla="*/ 1476375 h 1476375"/>
              <a:gd name="connsiteX3" fmla="*/ 0 w 447675"/>
              <a:gd name="connsiteY3" fmla="*/ 0 h 1476375"/>
              <a:gd name="connsiteX0" fmla="*/ 0 w 438150"/>
              <a:gd name="connsiteY0" fmla="*/ 28575 h 1476375"/>
              <a:gd name="connsiteX1" fmla="*/ 438150 w 438150"/>
              <a:gd name="connsiteY1" fmla="*/ 0 h 1476375"/>
              <a:gd name="connsiteX2" fmla="*/ 0 w 438150"/>
              <a:gd name="connsiteY2" fmla="*/ 1476375 h 1476375"/>
              <a:gd name="connsiteX3" fmla="*/ 0 w 438150"/>
              <a:gd name="connsiteY3" fmla="*/ 28575 h 1476375"/>
              <a:gd name="connsiteX0" fmla="*/ 9525 w 438150"/>
              <a:gd name="connsiteY0" fmla="*/ 9525 h 1476375"/>
              <a:gd name="connsiteX1" fmla="*/ 438150 w 438150"/>
              <a:gd name="connsiteY1" fmla="*/ 0 h 1476375"/>
              <a:gd name="connsiteX2" fmla="*/ 0 w 438150"/>
              <a:gd name="connsiteY2" fmla="*/ 1476375 h 1476375"/>
              <a:gd name="connsiteX3" fmla="*/ 9525 w 438150"/>
              <a:gd name="connsiteY3" fmla="*/ 9525 h 1476375"/>
              <a:gd name="connsiteX0" fmla="*/ 0 w 428625"/>
              <a:gd name="connsiteY0" fmla="*/ 9525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0 w 428625"/>
              <a:gd name="connsiteY3" fmla="*/ 9525 h 1504950"/>
              <a:gd name="connsiteX0" fmla="*/ 19050 w 428625"/>
              <a:gd name="connsiteY0" fmla="*/ 0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19050 w 428625"/>
              <a:gd name="connsiteY3" fmla="*/ 0 h 1504950"/>
              <a:gd name="connsiteX0" fmla="*/ 0 w 428625"/>
              <a:gd name="connsiteY0" fmla="*/ 0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0 w 428625"/>
              <a:gd name="connsiteY3" fmla="*/ 0 h 1504950"/>
              <a:gd name="connsiteX0" fmla="*/ 0 w 428625"/>
              <a:gd name="connsiteY0" fmla="*/ 0 h 1581150"/>
              <a:gd name="connsiteX1" fmla="*/ 428625 w 428625"/>
              <a:gd name="connsiteY1" fmla="*/ 0 h 1581150"/>
              <a:gd name="connsiteX2" fmla="*/ 0 w 428625"/>
              <a:gd name="connsiteY2" fmla="*/ 1581150 h 1581150"/>
              <a:gd name="connsiteX3" fmla="*/ 0 w 428625"/>
              <a:gd name="connsiteY3" fmla="*/ 0 h 1581150"/>
              <a:gd name="connsiteX0" fmla="*/ 0 w 428625"/>
              <a:gd name="connsiteY0" fmla="*/ 0 h 1743075"/>
              <a:gd name="connsiteX1" fmla="*/ 428625 w 428625"/>
              <a:gd name="connsiteY1" fmla="*/ 0 h 1743075"/>
              <a:gd name="connsiteX2" fmla="*/ 0 w 428625"/>
              <a:gd name="connsiteY2" fmla="*/ 1743075 h 1743075"/>
              <a:gd name="connsiteX3" fmla="*/ 0 w 428625"/>
              <a:gd name="connsiteY3" fmla="*/ 0 h 1743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8625" h="1743075">
                <a:moveTo>
                  <a:pt x="0" y="0"/>
                </a:moveTo>
                <a:lnTo>
                  <a:pt x="428625" y="0"/>
                </a:lnTo>
                <a:lnTo>
                  <a:pt x="0" y="1743075"/>
                </a:lnTo>
                <a:lnTo>
                  <a:pt x="0" y="0"/>
                </a:lnTo>
                <a:close/>
              </a:path>
            </a:pathLst>
          </a:custGeom>
          <a:solidFill>
            <a:srgbClr val="6E6B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11834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1" r="8943" b="24649"/>
          <a:stretch/>
        </p:blipFill>
        <p:spPr>
          <a:xfrm>
            <a:off x="0" y="12374"/>
            <a:ext cx="11053763" cy="7438346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ОВЫЙ ШЕЛКОВЫЙ ПУТЬ ДЛЯ ЕВРАЗИИ</a:t>
            </a:r>
          </a:p>
        </p:txBody>
      </p:sp>
      <p:sp>
        <p:nvSpPr>
          <p:cNvPr id="33" name="Полилиния 32"/>
          <p:cNvSpPr/>
          <p:nvPr/>
        </p:nvSpPr>
        <p:spPr>
          <a:xfrm>
            <a:off x="659" y="331336"/>
            <a:ext cx="695325" cy="2776047"/>
          </a:xfrm>
          <a:custGeom>
            <a:avLst/>
            <a:gdLst>
              <a:gd name="connsiteX0" fmla="*/ 0 w 657225"/>
              <a:gd name="connsiteY0" fmla="*/ 0 h 2162175"/>
              <a:gd name="connsiteX1" fmla="*/ 657225 w 657225"/>
              <a:gd name="connsiteY1" fmla="*/ 9525 h 2162175"/>
              <a:gd name="connsiteX2" fmla="*/ 19050 w 657225"/>
              <a:gd name="connsiteY2" fmla="*/ 2162175 h 2162175"/>
              <a:gd name="connsiteX3" fmla="*/ 0 w 657225"/>
              <a:gd name="connsiteY3" fmla="*/ 0 h 2162175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52992"/>
              <a:gd name="connsiteX1" fmla="*/ 657225 w 657225"/>
              <a:gd name="connsiteY1" fmla="*/ 9525 h 2152992"/>
              <a:gd name="connsiteX2" fmla="*/ 0 w 657225"/>
              <a:gd name="connsiteY2" fmla="*/ 2152992 h 2152992"/>
              <a:gd name="connsiteX3" fmla="*/ 0 w 657225"/>
              <a:gd name="connsiteY3" fmla="*/ 0 h 2152992"/>
              <a:gd name="connsiteX0" fmla="*/ 0 w 657225"/>
              <a:gd name="connsiteY0" fmla="*/ 17738 h 2170730"/>
              <a:gd name="connsiteX1" fmla="*/ 657225 w 657225"/>
              <a:gd name="connsiteY1" fmla="*/ 0 h 2170730"/>
              <a:gd name="connsiteX2" fmla="*/ 0 w 657225"/>
              <a:gd name="connsiteY2" fmla="*/ 2170730 h 2170730"/>
              <a:gd name="connsiteX3" fmla="*/ 0 w 657225"/>
              <a:gd name="connsiteY3" fmla="*/ 17738 h 2170730"/>
              <a:gd name="connsiteX0" fmla="*/ 0 w 657225"/>
              <a:gd name="connsiteY0" fmla="*/ 0 h 2171168"/>
              <a:gd name="connsiteX1" fmla="*/ 657225 w 657225"/>
              <a:gd name="connsiteY1" fmla="*/ 438 h 2171168"/>
              <a:gd name="connsiteX2" fmla="*/ 0 w 657225"/>
              <a:gd name="connsiteY2" fmla="*/ 2171168 h 2171168"/>
              <a:gd name="connsiteX3" fmla="*/ 0 w 657225"/>
              <a:gd name="connsiteY3" fmla="*/ 0 h 2171168"/>
              <a:gd name="connsiteX0" fmla="*/ 0 w 695325"/>
              <a:gd name="connsiteY0" fmla="*/ 0 h 2171168"/>
              <a:gd name="connsiteX1" fmla="*/ 695325 w 695325"/>
              <a:gd name="connsiteY1" fmla="*/ 438 h 2171168"/>
              <a:gd name="connsiteX2" fmla="*/ 0 w 695325"/>
              <a:gd name="connsiteY2" fmla="*/ 2171168 h 2171168"/>
              <a:gd name="connsiteX3" fmla="*/ 0 w 695325"/>
              <a:gd name="connsiteY3" fmla="*/ 0 h 2171168"/>
              <a:gd name="connsiteX0" fmla="*/ 9525 w 704850"/>
              <a:gd name="connsiteY0" fmla="*/ 0 h 2676201"/>
              <a:gd name="connsiteX1" fmla="*/ 704850 w 704850"/>
              <a:gd name="connsiteY1" fmla="*/ 438 h 2676201"/>
              <a:gd name="connsiteX2" fmla="*/ 0 w 704850"/>
              <a:gd name="connsiteY2" fmla="*/ 2676201 h 2676201"/>
              <a:gd name="connsiteX3" fmla="*/ 9525 w 704850"/>
              <a:gd name="connsiteY3" fmla="*/ 0 h 2676201"/>
              <a:gd name="connsiteX0" fmla="*/ 0 w 695325"/>
              <a:gd name="connsiteY0" fmla="*/ 0 h 2667019"/>
              <a:gd name="connsiteX1" fmla="*/ 695325 w 695325"/>
              <a:gd name="connsiteY1" fmla="*/ 438 h 2667019"/>
              <a:gd name="connsiteX2" fmla="*/ 9525 w 695325"/>
              <a:gd name="connsiteY2" fmla="*/ 2667019 h 2667019"/>
              <a:gd name="connsiteX3" fmla="*/ 0 w 695325"/>
              <a:gd name="connsiteY3" fmla="*/ 0 h 2667019"/>
              <a:gd name="connsiteX0" fmla="*/ 0 w 695325"/>
              <a:gd name="connsiteY0" fmla="*/ 0 h 2667019"/>
              <a:gd name="connsiteX1" fmla="*/ 695325 w 695325"/>
              <a:gd name="connsiteY1" fmla="*/ 438 h 2667019"/>
              <a:gd name="connsiteX2" fmla="*/ 9525 w 695325"/>
              <a:gd name="connsiteY2" fmla="*/ 2667019 h 2667019"/>
              <a:gd name="connsiteX3" fmla="*/ 0 w 695325"/>
              <a:gd name="connsiteY3" fmla="*/ 0 h 2667019"/>
              <a:gd name="connsiteX0" fmla="*/ 0 w 695325"/>
              <a:gd name="connsiteY0" fmla="*/ 0 h 2676201"/>
              <a:gd name="connsiteX1" fmla="*/ 695325 w 695325"/>
              <a:gd name="connsiteY1" fmla="*/ 438 h 2676201"/>
              <a:gd name="connsiteX2" fmla="*/ 0 w 695325"/>
              <a:gd name="connsiteY2" fmla="*/ 2676201 h 2676201"/>
              <a:gd name="connsiteX3" fmla="*/ 0 w 695325"/>
              <a:gd name="connsiteY3" fmla="*/ 0 h 2676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325" h="2676201">
                <a:moveTo>
                  <a:pt x="0" y="0"/>
                </a:moveTo>
                <a:lnTo>
                  <a:pt x="695325" y="438"/>
                </a:lnTo>
                <a:lnTo>
                  <a:pt x="0" y="2676201"/>
                </a:lnTo>
                <a:lnTo>
                  <a:pt x="0" y="0"/>
                </a:lnTo>
                <a:close/>
              </a:path>
            </a:pathLst>
          </a:custGeom>
          <a:solidFill>
            <a:srgbClr val="9829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6" name="Полилиния 35"/>
          <p:cNvSpPr/>
          <p:nvPr/>
        </p:nvSpPr>
        <p:spPr>
          <a:xfrm>
            <a:off x="0" y="0"/>
            <a:ext cx="428625" cy="1743075"/>
          </a:xfrm>
          <a:custGeom>
            <a:avLst/>
            <a:gdLst>
              <a:gd name="connsiteX0" fmla="*/ 0 w 447675"/>
              <a:gd name="connsiteY0" fmla="*/ 0 h 1447800"/>
              <a:gd name="connsiteX1" fmla="*/ 447675 w 447675"/>
              <a:gd name="connsiteY1" fmla="*/ 0 h 1447800"/>
              <a:gd name="connsiteX2" fmla="*/ 19050 w 447675"/>
              <a:gd name="connsiteY2" fmla="*/ 1447800 h 1447800"/>
              <a:gd name="connsiteX3" fmla="*/ 0 w 447675"/>
              <a:gd name="connsiteY3" fmla="*/ 0 h 1447800"/>
              <a:gd name="connsiteX0" fmla="*/ 0 w 447675"/>
              <a:gd name="connsiteY0" fmla="*/ 0 h 1476375"/>
              <a:gd name="connsiteX1" fmla="*/ 447675 w 447675"/>
              <a:gd name="connsiteY1" fmla="*/ 0 h 1476375"/>
              <a:gd name="connsiteX2" fmla="*/ 9525 w 447675"/>
              <a:gd name="connsiteY2" fmla="*/ 1476375 h 1476375"/>
              <a:gd name="connsiteX3" fmla="*/ 0 w 447675"/>
              <a:gd name="connsiteY3" fmla="*/ 0 h 1476375"/>
              <a:gd name="connsiteX0" fmla="*/ 0 w 438150"/>
              <a:gd name="connsiteY0" fmla="*/ 28575 h 1476375"/>
              <a:gd name="connsiteX1" fmla="*/ 438150 w 438150"/>
              <a:gd name="connsiteY1" fmla="*/ 0 h 1476375"/>
              <a:gd name="connsiteX2" fmla="*/ 0 w 438150"/>
              <a:gd name="connsiteY2" fmla="*/ 1476375 h 1476375"/>
              <a:gd name="connsiteX3" fmla="*/ 0 w 438150"/>
              <a:gd name="connsiteY3" fmla="*/ 28575 h 1476375"/>
              <a:gd name="connsiteX0" fmla="*/ 9525 w 438150"/>
              <a:gd name="connsiteY0" fmla="*/ 9525 h 1476375"/>
              <a:gd name="connsiteX1" fmla="*/ 438150 w 438150"/>
              <a:gd name="connsiteY1" fmla="*/ 0 h 1476375"/>
              <a:gd name="connsiteX2" fmla="*/ 0 w 438150"/>
              <a:gd name="connsiteY2" fmla="*/ 1476375 h 1476375"/>
              <a:gd name="connsiteX3" fmla="*/ 9525 w 438150"/>
              <a:gd name="connsiteY3" fmla="*/ 9525 h 1476375"/>
              <a:gd name="connsiteX0" fmla="*/ 0 w 428625"/>
              <a:gd name="connsiteY0" fmla="*/ 9525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0 w 428625"/>
              <a:gd name="connsiteY3" fmla="*/ 9525 h 1504950"/>
              <a:gd name="connsiteX0" fmla="*/ 19050 w 428625"/>
              <a:gd name="connsiteY0" fmla="*/ 0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19050 w 428625"/>
              <a:gd name="connsiteY3" fmla="*/ 0 h 1504950"/>
              <a:gd name="connsiteX0" fmla="*/ 0 w 428625"/>
              <a:gd name="connsiteY0" fmla="*/ 0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0 w 428625"/>
              <a:gd name="connsiteY3" fmla="*/ 0 h 1504950"/>
              <a:gd name="connsiteX0" fmla="*/ 0 w 428625"/>
              <a:gd name="connsiteY0" fmla="*/ 0 h 1581150"/>
              <a:gd name="connsiteX1" fmla="*/ 428625 w 428625"/>
              <a:gd name="connsiteY1" fmla="*/ 0 h 1581150"/>
              <a:gd name="connsiteX2" fmla="*/ 0 w 428625"/>
              <a:gd name="connsiteY2" fmla="*/ 1581150 h 1581150"/>
              <a:gd name="connsiteX3" fmla="*/ 0 w 428625"/>
              <a:gd name="connsiteY3" fmla="*/ 0 h 1581150"/>
              <a:gd name="connsiteX0" fmla="*/ 0 w 428625"/>
              <a:gd name="connsiteY0" fmla="*/ 0 h 1743075"/>
              <a:gd name="connsiteX1" fmla="*/ 428625 w 428625"/>
              <a:gd name="connsiteY1" fmla="*/ 0 h 1743075"/>
              <a:gd name="connsiteX2" fmla="*/ 0 w 428625"/>
              <a:gd name="connsiteY2" fmla="*/ 1743075 h 1743075"/>
              <a:gd name="connsiteX3" fmla="*/ 0 w 428625"/>
              <a:gd name="connsiteY3" fmla="*/ 0 h 1743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8625" h="1743075">
                <a:moveTo>
                  <a:pt x="0" y="0"/>
                </a:moveTo>
                <a:lnTo>
                  <a:pt x="428625" y="0"/>
                </a:lnTo>
                <a:lnTo>
                  <a:pt x="0" y="1743075"/>
                </a:lnTo>
                <a:lnTo>
                  <a:pt x="0" y="0"/>
                </a:lnTo>
                <a:close/>
              </a:path>
            </a:pathLst>
          </a:custGeom>
          <a:solidFill>
            <a:srgbClr val="6E6B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олилиния 8"/>
          <p:cNvSpPr/>
          <p:nvPr/>
        </p:nvSpPr>
        <p:spPr>
          <a:xfrm>
            <a:off x="6718423" y="330123"/>
            <a:ext cx="4337812" cy="438410"/>
          </a:xfrm>
          <a:custGeom>
            <a:avLst/>
            <a:gdLst>
              <a:gd name="connsiteX0" fmla="*/ 76200 w 3352800"/>
              <a:gd name="connsiteY0" fmla="*/ 0 h 438150"/>
              <a:gd name="connsiteX1" fmla="*/ 3352800 w 3352800"/>
              <a:gd name="connsiteY1" fmla="*/ 9525 h 438150"/>
              <a:gd name="connsiteX2" fmla="*/ 3352800 w 3352800"/>
              <a:gd name="connsiteY2" fmla="*/ 438150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52800"/>
              <a:gd name="connsiteY0" fmla="*/ 0 h 438150"/>
              <a:gd name="connsiteX1" fmla="*/ 3343275 w 3352800"/>
              <a:gd name="connsiteY1" fmla="*/ 0 h 438150"/>
              <a:gd name="connsiteX2" fmla="*/ 3352800 w 3352800"/>
              <a:gd name="connsiteY2" fmla="*/ 438150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43275"/>
              <a:gd name="connsiteY0" fmla="*/ 0 h 438150"/>
              <a:gd name="connsiteX1" fmla="*/ 3343275 w 3343275"/>
              <a:gd name="connsiteY1" fmla="*/ 0 h 438150"/>
              <a:gd name="connsiteX2" fmla="*/ 3333750 w 3343275"/>
              <a:gd name="connsiteY2" fmla="*/ 438150 h 438150"/>
              <a:gd name="connsiteX3" fmla="*/ 0 w 3343275"/>
              <a:gd name="connsiteY3" fmla="*/ 438150 h 438150"/>
              <a:gd name="connsiteX4" fmla="*/ 76200 w 3343275"/>
              <a:gd name="connsiteY4" fmla="*/ 0 h 438150"/>
              <a:gd name="connsiteX0" fmla="*/ 76200 w 3352800"/>
              <a:gd name="connsiteY0" fmla="*/ 0 h 438150"/>
              <a:gd name="connsiteX1" fmla="*/ 3343275 w 3352800"/>
              <a:gd name="connsiteY1" fmla="*/ 0 h 438150"/>
              <a:gd name="connsiteX2" fmla="*/ 3352800 w 3352800"/>
              <a:gd name="connsiteY2" fmla="*/ 428625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43275"/>
              <a:gd name="connsiteY0" fmla="*/ 0 h 447675"/>
              <a:gd name="connsiteX1" fmla="*/ 3343275 w 3343275"/>
              <a:gd name="connsiteY1" fmla="*/ 0 h 447675"/>
              <a:gd name="connsiteX2" fmla="*/ 3333750 w 3343275"/>
              <a:gd name="connsiteY2" fmla="*/ 447675 h 447675"/>
              <a:gd name="connsiteX3" fmla="*/ 0 w 3343275"/>
              <a:gd name="connsiteY3" fmla="*/ 438150 h 447675"/>
              <a:gd name="connsiteX4" fmla="*/ 76200 w 3343275"/>
              <a:gd name="connsiteY4" fmla="*/ 0 h 447675"/>
              <a:gd name="connsiteX0" fmla="*/ 76200 w 3343275"/>
              <a:gd name="connsiteY0" fmla="*/ 0 h 438150"/>
              <a:gd name="connsiteX1" fmla="*/ 3343275 w 3343275"/>
              <a:gd name="connsiteY1" fmla="*/ 0 h 438150"/>
              <a:gd name="connsiteX2" fmla="*/ 3343275 w 3343275"/>
              <a:gd name="connsiteY2" fmla="*/ 438150 h 438150"/>
              <a:gd name="connsiteX3" fmla="*/ 0 w 3343275"/>
              <a:gd name="connsiteY3" fmla="*/ 438150 h 438150"/>
              <a:gd name="connsiteX4" fmla="*/ 76200 w 3343275"/>
              <a:gd name="connsiteY4" fmla="*/ 0 h 438150"/>
              <a:gd name="connsiteX0" fmla="*/ 144439 w 3411514"/>
              <a:gd name="connsiteY0" fmla="*/ 0 h 438150"/>
              <a:gd name="connsiteX1" fmla="*/ 3411514 w 3411514"/>
              <a:gd name="connsiteY1" fmla="*/ 0 h 438150"/>
              <a:gd name="connsiteX2" fmla="*/ 3411514 w 3411514"/>
              <a:gd name="connsiteY2" fmla="*/ 438150 h 438150"/>
              <a:gd name="connsiteX3" fmla="*/ 0 w 3411514"/>
              <a:gd name="connsiteY3" fmla="*/ 438150 h 438150"/>
              <a:gd name="connsiteX4" fmla="*/ 144439 w 3411514"/>
              <a:gd name="connsiteY4" fmla="*/ 0 h 438150"/>
              <a:gd name="connsiteX0" fmla="*/ 117143 w 3384218"/>
              <a:gd name="connsiteY0" fmla="*/ 0 h 438150"/>
              <a:gd name="connsiteX1" fmla="*/ 3384218 w 3384218"/>
              <a:gd name="connsiteY1" fmla="*/ 0 h 438150"/>
              <a:gd name="connsiteX2" fmla="*/ 3384218 w 3384218"/>
              <a:gd name="connsiteY2" fmla="*/ 438150 h 438150"/>
              <a:gd name="connsiteX3" fmla="*/ 0 w 3384218"/>
              <a:gd name="connsiteY3" fmla="*/ 438150 h 438150"/>
              <a:gd name="connsiteX4" fmla="*/ 117143 w 3384218"/>
              <a:gd name="connsiteY4" fmla="*/ 0 h 438150"/>
              <a:gd name="connsiteX0" fmla="*/ 117143 w 4325913"/>
              <a:gd name="connsiteY0" fmla="*/ 0 h 438150"/>
              <a:gd name="connsiteX1" fmla="*/ 4325913 w 4325913"/>
              <a:gd name="connsiteY1" fmla="*/ 0 h 438150"/>
              <a:gd name="connsiteX2" fmla="*/ 3384218 w 4325913"/>
              <a:gd name="connsiteY2" fmla="*/ 438150 h 438150"/>
              <a:gd name="connsiteX3" fmla="*/ 0 w 4325913"/>
              <a:gd name="connsiteY3" fmla="*/ 438150 h 438150"/>
              <a:gd name="connsiteX4" fmla="*/ 117143 w 4325913"/>
              <a:gd name="connsiteY4" fmla="*/ 0 h 438150"/>
              <a:gd name="connsiteX0" fmla="*/ 117143 w 4325913"/>
              <a:gd name="connsiteY0" fmla="*/ 0 h 451798"/>
              <a:gd name="connsiteX1" fmla="*/ 4325913 w 4325913"/>
              <a:gd name="connsiteY1" fmla="*/ 0 h 451798"/>
              <a:gd name="connsiteX2" fmla="*/ 4312266 w 4325913"/>
              <a:gd name="connsiteY2" fmla="*/ 451798 h 451798"/>
              <a:gd name="connsiteX3" fmla="*/ 0 w 4325913"/>
              <a:gd name="connsiteY3" fmla="*/ 438150 h 451798"/>
              <a:gd name="connsiteX4" fmla="*/ 117143 w 4325913"/>
              <a:gd name="connsiteY4" fmla="*/ 0 h 451798"/>
              <a:gd name="connsiteX0" fmla="*/ 117143 w 4325914"/>
              <a:gd name="connsiteY0" fmla="*/ 0 h 438150"/>
              <a:gd name="connsiteX1" fmla="*/ 4325913 w 4325914"/>
              <a:gd name="connsiteY1" fmla="*/ 0 h 438150"/>
              <a:gd name="connsiteX2" fmla="*/ 4325914 w 4325914"/>
              <a:gd name="connsiteY2" fmla="*/ 438150 h 438150"/>
              <a:gd name="connsiteX3" fmla="*/ 0 w 4325914"/>
              <a:gd name="connsiteY3" fmla="*/ 438150 h 438150"/>
              <a:gd name="connsiteX4" fmla="*/ 117143 w 4325914"/>
              <a:gd name="connsiteY4" fmla="*/ 0 h 438150"/>
              <a:gd name="connsiteX0" fmla="*/ 117143 w 4339562"/>
              <a:gd name="connsiteY0" fmla="*/ 0 h 451797"/>
              <a:gd name="connsiteX1" fmla="*/ 4325913 w 4339562"/>
              <a:gd name="connsiteY1" fmla="*/ 0 h 451797"/>
              <a:gd name="connsiteX2" fmla="*/ 4339562 w 4339562"/>
              <a:gd name="connsiteY2" fmla="*/ 451797 h 451797"/>
              <a:gd name="connsiteX3" fmla="*/ 0 w 4339562"/>
              <a:gd name="connsiteY3" fmla="*/ 438150 h 451797"/>
              <a:gd name="connsiteX4" fmla="*/ 117143 w 4339562"/>
              <a:gd name="connsiteY4" fmla="*/ 0 h 451797"/>
              <a:gd name="connsiteX0" fmla="*/ 117143 w 4325913"/>
              <a:gd name="connsiteY0" fmla="*/ 0 h 451797"/>
              <a:gd name="connsiteX1" fmla="*/ 4325913 w 4325913"/>
              <a:gd name="connsiteY1" fmla="*/ 0 h 451797"/>
              <a:gd name="connsiteX2" fmla="*/ 4312266 w 4325913"/>
              <a:gd name="connsiteY2" fmla="*/ 451797 h 451797"/>
              <a:gd name="connsiteX3" fmla="*/ 0 w 4325913"/>
              <a:gd name="connsiteY3" fmla="*/ 438150 h 451797"/>
              <a:gd name="connsiteX4" fmla="*/ 117143 w 4325913"/>
              <a:gd name="connsiteY4" fmla="*/ 0 h 451797"/>
              <a:gd name="connsiteX0" fmla="*/ 117143 w 4325914"/>
              <a:gd name="connsiteY0" fmla="*/ 0 h 438150"/>
              <a:gd name="connsiteX1" fmla="*/ 4325913 w 4325914"/>
              <a:gd name="connsiteY1" fmla="*/ 0 h 438150"/>
              <a:gd name="connsiteX2" fmla="*/ 4325914 w 4325914"/>
              <a:gd name="connsiteY2" fmla="*/ 424502 h 438150"/>
              <a:gd name="connsiteX3" fmla="*/ 0 w 4325914"/>
              <a:gd name="connsiteY3" fmla="*/ 438150 h 438150"/>
              <a:gd name="connsiteX4" fmla="*/ 117143 w 4325914"/>
              <a:gd name="connsiteY4" fmla="*/ 0 h 438150"/>
              <a:gd name="connsiteX0" fmla="*/ 117143 w 4325913"/>
              <a:gd name="connsiteY0" fmla="*/ 0 h 438409"/>
              <a:gd name="connsiteX1" fmla="*/ 4325913 w 4325913"/>
              <a:gd name="connsiteY1" fmla="*/ 0 h 438409"/>
              <a:gd name="connsiteX2" fmla="*/ 4318960 w 4325913"/>
              <a:gd name="connsiteY2" fmla="*/ 438409 h 438409"/>
              <a:gd name="connsiteX3" fmla="*/ 0 w 4325913"/>
              <a:gd name="connsiteY3" fmla="*/ 438150 h 438409"/>
              <a:gd name="connsiteX4" fmla="*/ 117143 w 4325913"/>
              <a:gd name="connsiteY4" fmla="*/ 0 h 438409"/>
              <a:gd name="connsiteX0" fmla="*/ 154850 w 4325913"/>
              <a:gd name="connsiteY0" fmla="*/ 9427 h 438409"/>
              <a:gd name="connsiteX1" fmla="*/ 4325913 w 4325913"/>
              <a:gd name="connsiteY1" fmla="*/ 0 h 438409"/>
              <a:gd name="connsiteX2" fmla="*/ 4318960 w 4325913"/>
              <a:gd name="connsiteY2" fmla="*/ 438409 h 438409"/>
              <a:gd name="connsiteX3" fmla="*/ 0 w 4325913"/>
              <a:gd name="connsiteY3" fmla="*/ 438150 h 438409"/>
              <a:gd name="connsiteX4" fmla="*/ 154850 w 4325913"/>
              <a:gd name="connsiteY4" fmla="*/ 9427 h 438409"/>
              <a:gd name="connsiteX0" fmla="*/ 117143 w 4288206"/>
              <a:gd name="connsiteY0" fmla="*/ 9427 h 438409"/>
              <a:gd name="connsiteX1" fmla="*/ 4288206 w 4288206"/>
              <a:gd name="connsiteY1" fmla="*/ 0 h 438409"/>
              <a:gd name="connsiteX2" fmla="*/ 4281253 w 4288206"/>
              <a:gd name="connsiteY2" fmla="*/ 438409 h 438409"/>
              <a:gd name="connsiteX3" fmla="*/ 0 w 4288206"/>
              <a:gd name="connsiteY3" fmla="*/ 428723 h 438409"/>
              <a:gd name="connsiteX4" fmla="*/ 117143 w 4288206"/>
              <a:gd name="connsiteY4" fmla="*/ 9427 h 438409"/>
              <a:gd name="connsiteX0" fmla="*/ 126570 w 4288206"/>
              <a:gd name="connsiteY0" fmla="*/ 0 h 438409"/>
              <a:gd name="connsiteX1" fmla="*/ 4288206 w 4288206"/>
              <a:gd name="connsiteY1" fmla="*/ 0 h 438409"/>
              <a:gd name="connsiteX2" fmla="*/ 4281253 w 4288206"/>
              <a:gd name="connsiteY2" fmla="*/ 438409 h 438409"/>
              <a:gd name="connsiteX3" fmla="*/ 0 w 4288206"/>
              <a:gd name="connsiteY3" fmla="*/ 428723 h 438409"/>
              <a:gd name="connsiteX4" fmla="*/ 126570 w 4288206"/>
              <a:gd name="connsiteY4" fmla="*/ 0 h 438409"/>
              <a:gd name="connsiteX0" fmla="*/ 107716 w 4269352"/>
              <a:gd name="connsiteY0" fmla="*/ 0 h 438409"/>
              <a:gd name="connsiteX1" fmla="*/ 4269352 w 4269352"/>
              <a:gd name="connsiteY1" fmla="*/ 0 h 438409"/>
              <a:gd name="connsiteX2" fmla="*/ 4262399 w 4269352"/>
              <a:gd name="connsiteY2" fmla="*/ 438409 h 438409"/>
              <a:gd name="connsiteX3" fmla="*/ 0 w 4269352"/>
              <a:gd name="connsiteY3" fmla="*/ 428723 h 438409"/>
              <a:gd name="connsiteX4" fmla="*/ 107716 w 4269352"/>
              <a:gd name="connsiteY4" fmla="*/ 0 h 438409"/>
              <a:gd name="connsiteX0" fmla="*/ 126569 w 4288205"/>
              <a:gd name="connsiteY0" fmla="*/ 0 h 438409"/>
              <a:gd name="connsiteX1" fmla="*/ 4288205 w 4288205"/>
              <a:gd name="connsiteY1" fmla="*/ 0 h 438409"/>
              <a:gd name="connsiteX2" fmla="*/ 4281252 w 4288205"/>
              <a:gd name="connsiteY2" fmla="*/ 438409 h 438409"/>
              <a:gd name="connsiteX3" fmla="*/ 0 w 4288205"/>
              <a:gd name="connsiteY3" fmla="*/ 428723 h 438409"/>
              <a:gd name="connsiteX4" fmla="*/ 126569 w 4288205"/>
              <a:gd name="connsiteY4" fmla="*/ 0 h 438409"/>
              <a:gd name="connsiteX0" fmla="*/ 126569 w 4288205"/>
              <a:gd name="connsiteY0" fmla="*/ 0 h 438409"/>
              <a:gd name="connsiteX1" fmla="*/ 4288205 w 4288205"/>
              <a:gd name="connsiteY1" fmla="*/ 0 h 438409"/>
              <a:gd name="connsiteX2" fmla="*/ 4281252 w 4288205"/>
              <a:gd name="connsiteY2" fmla="*/ 438409 h 438409"/>
              <a:gd name="connsiteX3" fmla="*/ 0 w 4288205"/>
              <a:gd name="connsiteY3" fmla="*/ 428723 h 438409"/>
              <a:gd name="connsiteX4" fmla="*/ 126569 w 4288205"/>
              <a:gd name="connsiteY4" fmla="*/ 0 h 438409"/>
              <a:gd name="connsiteX0" fmla="*/ 135995 w 4297631"/>
              <a:gd name="connsiteY0" fmla="*/ 0 h 438409"/>
              <a:gd name="connsiteX1" fmla="*/ 4297631 w 4297631"/>
              <a:gd name="connsiteY1" fmla="*/ 0 h 438409"/>
              <a:gd name="connsiteX2" fmla="*/ 4290678 w 4297631"/>
              <a:gd name="connsiteY2" fmla="*/ 438409 h 438409"/>
              <a:gd name="connsiteX3" fmla="*/ 0 w 4297631"/>
              <a:gd name="connsiteY3" fmla="*/ 438150 h 438409"/>
              <a:gd name="connsiteX4" fmla="*/ 135995 w 4297631"/>
              <a:gd name="connsiteY4" fmla="*/ 0 h 438409"/>
              <a:gd name="connsiteX0" fmla="*/ 135995 w 4309531"/>
              <a:gd name="connsiteY0" fmla="*/ 0 h 438150"/>
              <a:gd name="connsiteX1" fmla="*/ 4297631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16484"/>
              <a:gd name="connsiteY0" fmla="*/ 0 h 438150"/>
              <a:gd name="connsiteX1" fmla="*/ 4316484 w 4316484"/>
              <a:gd name="connsiteY1" fmla="*/ 0 h 438150"/>
              <a:gd name="connsiteX2" fmla="*/ 4309531 w 4316484"/>
              <a:gd name="connsiteY2" fmla="*/ 428983 h 438150"/>
              <a:gd name="connsiteX3" fmla="*/ 0 w 4316484"/>
              <a:gd name="connsiteY3" fmla="*/ 438150 h 438150"/>
              <a:gd name="connsiteX4" fmla="*/ 135995 w 4316484"/>
              <a:gd name="connsiteY4" fmla="*/ 0 h 438150"/>
              <a:gd name="connsiteX0" fmla="*/ 135995 w 4309531"/>
              <a:gd name="connsiteY0" fmla="*/ 0 h 438150"/>
              <a:gd name="connsiteX1" fmla="*/ 4307057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09531"/>
              <a:gd name="connsiteY0" fmla="*/ 0 h 438150"/>
              <a:gd name="connsiteX1" fmla="*/ 4307057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07057"/>
              <a:gd name="connsiteY0" fmla="*/ 0 h 438410"/>
              <a:gd name="connsiteX1" fmla="*/ 4307057 w 4307057"/>
              <a:gd name="connsiteY1" fmla="*/ 0 h 438410"/>
              <a:gd name="connsiteX2" fmla="*/ 4300104 w 4307057"/>
              <a:gd name="connsiteY2" fmla="*/ 438410 h 438410"/>
              <a:gd name="connsiteX3" fmla="*/ 0 w 4307057"/>
              <a:gd name="connsiteY3" fmla="*/ 438150 h 438410"/>
              <a:gd name="connsiteX4" fmla="*/ 135995 w 4307057"/>
              <a:gd name="connsiteY4" fmla="*/ 0 h 438410"/>
              <a:gd name="connsiteX0" fmla="*/ 135995 w 4300104"/>
              <a:gd name="connsiteY0" fmla="*/ 0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135995 w 4300104"/>
              <a:gd name="connsiteY4" fmla="*/ 0 h 438410"/>
              <a:gd name="connsiteX0" fmla="*/ 88861 w 4300104"/>
              <a:gd name="connsiteY0" fmla="*/ 9427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88861 w 4300104"/>
              <a:gd name="connsiteY4" fmla="*/ 9427 h 438410"/>
              <a:gd name="connsiteX0" fmla="*/ 88861 w 4300104"/>
              <a:gd name="connsiteY0" fmla="*/ 9427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88861 w 4300104"/>
              <a:gd name="connsiteY4" fmla="*/ 9427 h 438410"/>
              <a:gd name="connsiteX0" fmla="*/ 98288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98288 w 4309531"/>
              <a:gd name="connsiteY4" fmla="*/ 9427 h 438410"/>
              <a:gd name="connsiteX0" fmla="*/ 98288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98288 w 4309531"/>
              <a:gd name="connsiteY4" fmla="*/ 9427 h 438410"/>
              <a:gd name="connsiteX0" fmla="*/ 79434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9427 h 438410"/>
              <a:gd name="connsiteX0" fmla="*/ 79434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9427 h 438410"/>
              <a:gd name="connsiteX0" fmla="*/ 79434 w 4309531"/>
              <a:gd name="connsiteY0" fmla="*/ 4832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4832 h 438410"/>
              <a:gd name="connsiteX0" fmla="*/ 88624 w 4309531"/>
              <a:gd name="connsiteY0" fmla="*/ 4832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88624 w 4309531"/>
              <a:gd name="connsiteY4" fmla="*/ 4832 h 438410"/>
              <a:gd name="connsiteX0" fmla="*/ 74839 w 4309531"/>
              <a:gd name="connsiteY0" fmla="*/ 23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4839 w 4309531"/>
              <a:gd name="connsiteY4" fmla="*/ 237 h 438410"/>
              <a:gd name="connsiteX0" fmla="*/ 103120 w 4337812"/>
              <a:gd name="connsiteY0" fmla="*/ 237 h 438410"/>
              <a:gd name="connsiteX1" fmla="*/ 4335712 w 4337812"/>
              <a:gd name="connsiteY1" fmla="*/ 0 h 438410"/>
              <a:gd name="connsiteX2" fmla="*/ 4337812 w 4337812"/>
              <a:gd name="connsiteY2" fmla="*/ 438410 h 438410"/>
              <a:gd name="connsiteX3" fmla="*/ 0 w 4337812"/>
              <a:gd name="connsiteY3" fmla="*/ 428723 h 438410"/>
              <a:gd name="connsiteX4" fmla="*/ 103120 w 4337812"/>
              <a:gd name="connsiteY4" fmla="*/ 237 h 438410"/>
              <a:gd name="connsiteX0" fmla="*/ 103120 w 4337812"/>
              <a:gd name="connsiteY0" fmla="*/ 237 h 447577"/>
              <a:gd name="connsiteX1" fmla="*/ 4335712 w 4337812"/>
              <a:gd name="connsiteY1" fmla="*/ 0 h 447577"/>
              <a:gd name="connsiteX2" fmla="*/ 4337812 w 4337812"/>
              <a:gd name="connsiteY2" fmla="*/ 438410 h 447577"/>
              <a:gd name="connsiteX3" fmla="*/ 0 w 4337812"/>
              <a:gd name="connsiteY3" fmla="*/ 447577 h 447577"/>
              <a:gd name="connsiteX4" fmla="*/ 103120 w 4337812"/>
              <a:gd name="connsiteY4" fmla="*/ 237 h 447577"/>
              <a:gd name="connsiteX0" fmla="*/ 103120 w 4337812"/>
              <a:gd name="connsiteY0" fmla="*/ 237 h 447577"/>
              <a:gd name="connsiteX1" fmla="*/ 4335712 w 4337812"/>
              <a:gd name="connsiteY1" fmla="*/ 0 h 447577"/>
              <a:gd name="connsiteX2" fmla="*/ 4337812 w 4337812"/>
              <a:gd name="connsiteY2" fmla="*/ 438410 h 447577"/>
              <a:gd name="connsiteX3" fmla="*/ 0 w 4337812"/>
              <a:gd name="connsiteY3" fmla="*/ 447577 h 447577"/>
              <a:gd name="connsiteX4" fmla="*/ 103120 w 4337812"/>
              <a:gd name="connsiteY4" fmla="*/ 237 h 447577"/>
              <a:gd name="connsiteX0" fmla="*/ 103120 w 4337812"/>
              <a:gd name="connsiteY0" fmla="*/ 237 h 438410"/>
              <a:gd name="connsiteX1" fmla="*/ 4335712 w 4337812"/>
              <a:gd name="connsiteY1" fmla="*/ 0 h 438410"/>
              <a:gd name="connsiteX2" fmla="*/ 4337812 w 4337812"/>
              <a:gd name="connsiteY2" fmla="*/ 438410 h 438410"/>
              <a:gd name="connsiteX3" fmla="*/ 0 w 4337812"/>
              <a:gd name="connsiteY3" fmla="*/ 438150 h 438410"/>
              <a:gd name="connsiteX4" fmla="*/ 103120 w 4337812"/>
              <a:gd name="connsiteY4" fmla="*/ 237 h 438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37812" h="438410">
                <a:moveTo>
                  <a:pt x="103120" y="237"/>
                </a:moveTo>
                <a:lnTo>
                  <a:pt x="4335712" y="0"/>
                </a:lnTo>
                <a:cubicBezTo>
                  <a:pt x="4335712" y="146050"/>
                  <a:pt x="4337812" y="292360"/>
                  <a:pt x="4337812" y="438410"/>
                </a:cubicBezTo>
                <a:lnTo>
                  <a:pt x="0" y="438150"/>
                </a:lnTo>
                <a:lnTo>
                  <a:pt x="103120" y="237"/>
                </a:lnTo>
                <a:close/>
              </a:path>
            </a:pathLst>
          </a:custGeom>
          <a:solidFill>
            <a:srgbClr val="3D49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chemeClr val="bg1"/>
                </a:solidFill>
                <a:latin typeface="PT Sans Narrow" panose="020B0604020202020204" charset="-52"/>
              </a:rPr>
              <a:t>FREIGHT VILLAGE RU DEVELOPMENT PLAN</a:t>
            </a:r>
            <a:endParaRPr lang="ru-RU" sz="1600" b="1" dirty="0">
              <a:solidFill>
                <a:schemeClr val="bg1"/>
              </a:solidFill>
              <a:latin typeface="PT Sans Narrow" panose="020B0604020202020204" charset="-52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15</a:t>
            </a:fld>
            <a:endParaRPr lang="ru-RU"/>
          </a:p>
        </p:txBody>
      </p:sp>
      <p:sp>
        <p:nvSpPr>
          <p:cNvPr id="6" name="Овал 5"/>
          <p:cNvSpPr/>
          <p:nvPr/>
        </p:nvSpPr>
        <p:spPr>
          <a:xfrm>
            <a:off x="3222625" y="2952700"/>
            <a:ext cx="288000" cy="288000"/>
          </a:xfrm>
          <a:prstGeom prst="ellipse">
            <a:avLst/>
          </a:prstGeom>
          <a:solidFill>
            <a:srgbClr val="FFFF00"/>
          </a:solidFill>
          <a:ln w="158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Овал 14"/>
          <p:cNvSpPr/>
          <p:nvPr/>
        </p:nvSpPr>
        <p:spPr>
          <a:xfrm>
            <a:off x="5893266" y="2952700"/>
            <a:ext cx="288000" cy="288000"/>
          </a:xfrm>
          <a:prstGeom prst="ellipse">
            <a:avLst/>
          </a:prstGeom>
          <a:solidFill>
            <a:srgbClr val="FFFF00"/>
          </a:solidFill>
          <a:ln w="158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Овал 15"/>
          <p:cNvSpPr/>
          <p:nvPr/>
        </p:nvSpPr>
        <p:spPr>
          <a:xfrm>
            <a:off x="3310178" y="3167207"/>
            <a:ext cx="171734" cy="171734"/>
          </a:xfrm>
          <a:prstGeom prst="ellipse">
            <a:avLst/>
          </a:prstGeom>
          <a:solidFill>
            <a:srgbClr val="FFFF00"/>
          </a:solidFill>
          <a:ln w="158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Овал 16"/>
          <p:cNvSpPr/>
          <p:nvPr/>
        </p:nvSpPr>
        <p:spPr>
          <a:xfrm>
            <a:off x="7399089" y="3338941"/>
            <a:ext cx="288000" cy="288000"/>
          </a:xfrm>
          <a:prstGeom prst="ellipse">
            <a:avLst/>
          </a:prstGeom>
          <a:solidFill>
            <a:srgbClr val="FFFF00"/>
          </a:solidFill>
          <a:ln w="158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Овал 17"/>
          <p:cNvSpPr/>
          <p:nvPr/>
        </p:nvSpPr>
        <p:spPr>
          <a:xfrm>
            <a:off x="4374753" y="2692084"/>
            <a:ext cx="288000" cy="288000"/>
          </a:xfrm>
          <a:prstGeom prst="ellipse">
            <a:avLst/>
          </a:prstGeom>
          <a:solidFill>
            <a:srgbClr val="FFFF00"/>
          </a:solidFill>
          <a:ln w="158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Овал 19"/>
          <p:cNvSpPr/>
          <p:nvPr/>
        </p:nvSpPr>
        <p:spPr>
          <a:xfrm>
            <a:off x="8743329" y="3678233"/>
            <a:ext cx="288000" cy="288000"/>
          </a:xfrm>
          <a:prstGeom prst="ellipse">
            <a:avLst/>
          </a:prstGeom>
          <a:solidFill>
            <a:srgbClr val="FFFF00"/>
          </a:solidFill>
          <a:ln w="158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2765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араллелограмм 17"/>
          <p:cNvSpPr/>
          <p:nvPr/>
        </p:nvSpPr>
        <p:spPr>
          <a:xfrm>
            <a:off x="2654614" y="2441926"/>
            <a:ext cx="9785035" cy="5479699"/>
          </a:xfrm>
          <a:prstGeom prst="parallelogram">
            <a:avLst/>
          </a:prstGeom>
          <a:solidFill>
            <a:srgbClr val="B1B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S </a:t>
            </a:r>
            <a:endParaRPr lang="ru-RU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16</a:t>
            </a:fld>
            <a:endParaRPr lang="ru-RU"/>
          </a:p>
        </p:txBody>
      </p:sp>
      <p:sp>
        <p:nvSpPr>
          <p:cNvPr id="12" name="TextBox 11"/>
          <p:cNvSpPr txBox="1"/>
          <p:nvPr/>
        </p:nvSpPr>
        <p:spPr>
          <a:xfrm>
            <a:off x="6543046" y="5056028"/>
            <a:ext cx="4384435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</a:rPr>
              <a:t>Moscow – The city of capitals tower</a:t>
            </a: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</a:rPr>
              <a:t>, 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</a:rPr>
              <a:t>4</a:t>
            </a: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</a:rPr>
              <a:t> </a:t>
            </a: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</a:rPr>
              <a:t>floor</a:t>
            </a:r>
          </a:p>
          <a:p>
            <a:pPr>
              <a:spcAft>
                <a:spcPts val="1400"/>
              </a:spcAft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</a:rPr>
              <a:t>Vorsino – North Industrial Zone, bld. 6</a:t>
            </a:r>
          </a:p>
          <a:p>
            <a:pPr>
              <a:spcAft>
                <a:spcPts val="1400"/>
              </a:spcAft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</a:rPr>
              <a:t>+7 (495) 741 87 74</a:t>
            </a:r>
            <a:endParaRPr lang="ru-RU" sz="1400" b="1" dirty="0">
              <a:solidFill>
                <a:schemeClr val="tx1">
                  <a:lumMod val="75000"/>
                  <a:lumOff val="25000"/>
                </a:schemeClr>
              </a:solidFill>
              <a:latin typeface="PT Sans Narrow" panose="020B0604020202020204" charset="-52"/>
            </a:endParaRPr>
          </a:p>
          <a:p>
            <a:pPr>
              <a:spcAft>
                <a:spcPts val="1400"/>
              </a:spcAft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</a:rPr>
              <a:t>sales@freightvillage.ru</a:t>
            </a:r>
            <a:endParaRPr lang="ru-RU" sz="1400" b="1" dirty="0">
              <a:solidFill>
                <a:schemeClr val="tx1">
                  <a:lumMod val="75000"/>
                  <a:lumOff val="25000"/>
                </a:schemeClr>
              </a:solidFill>
              <a:latin typeface="PT Sans Narrow" panose="020B0604020202020204" charset="-52"/>
            </a:endParaRPr>
          </a:p>
          <a:p>
            <a:pPr>
              <a:spcAft>
                <a:spcPts val="1400"/>
              </a:spcAft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  <a:hlinkClick r:id="rId2"/>
              </a:rPr>
              <a:t>www.freightvillage.ru</a:t>
            </a: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  <a:latin typeface="PT Sans Narrow" panose="020B0604020202020204" charset="-52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3531" y="6465904"/>
            <a:ext cx="372445" cy="372445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7885" y="6093995"/>
            <a:ext cx="341077" cy="341077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5" cstate="screen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3531" y="4983045"/>
            <a:ext cx="382475" cy="362508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6" cstate="screen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9733" y="5704039"/>
            <a:ext cx="360040" cy="360040"/>
          </a:xfrm>
          <a:prstGeom prst="rect">
            <a:avLst/>
          </a:prstGeom>
        </p:spPr>
      </p:pic>
      <p:sp>
        <p:nvSpPr>
          <p:cNvPr id="14" name="Заголовок 2">
            <a:extLst>
              <a:ext uri="{FF2B5EF4-FFF2-40B4-BE49-F238E27FC236}">
                <a16:creationId xmlns:a16="http://schemas.microsoft.com/office/drawing/2014/main" id="{A7AC7F1E-736B-4424-AC56-C075ACD2AC61}"/>
              </a:ext>
            </a:extLst>
          </p:cNvPr>
          <p:cNvSpPr txBox="1">
            <a:spLocks/>
          </p:cNvSpPr>
          <p:nvPr/>
        </p:nvSpPr>
        <p:spPr>
          <a:xfrm>
            <a:off x="5956167" y="3500368"/>
            <a:ext cx="5259346" cy="820484"/>
          </a:xfrm>
          <a:prstGeom prst="rect">
            <a:avLst/>
          </a:prstGeom>
        </p:spPr>
        <p:txBody>
          <a:bodyPr anchor="ctr" anchorCtr="0"/>
          <a:lstStyle>
            <a:lvl1pPr algn="ctr" defTabSz="1084296" rtl="0" eaLnBrk="1" latinLnBrk="0" hangingPunct="1">
              <a:spcBef>
                <a:spcPct val="0"/>
              </a:spcBef>
              <a:buNone/>
              <a:defRPr sz="1600" b="1" kern="1200">
                <a:solidFill>
                  <a:schemeClr val="bg1"/>
                </a:solidFill>
                <a:latin typeface="PT Sans Narrow" panose="020B0604020202020204" charset="-52"/>
                <a:ea typeface="+mj-ea"/>
                <a:cs typeface="+mj-cs"/>
              </a:defRPr>
            </a:lvl1pPr>
          </a:lstStyle>
          <a:p>
            <a:pPr algn="l"/>
            <a:r>
              <a:rPr lang="en-US" sz="3600" b="0" dirty="0">
                <a:latin typeface="PT Sans Narrow" panose="020B0506020203020204" pitchFamily="34" charset="-52"/>
              </a:rPr>
              <a:t>Thanks for your attention</a:t>
            </a:r>
            <a:r>
              <a:rPr lang="ru-RU" sz="3600" b="0" dirty="0">
                <a:latin typeface="PT Sans Narrow" panose="020B0506020203020204" pitchFamily="34" charset="-52"/>
              </a:rPr>
              <a:t>!</a:t>
            </a:r>
          </a:p>
        </p:txBody>
      </p:sp>
      <p:pic>
        <p:nvPicPr>
          <p:cNvPr id="13" name="Picture 10" descr="http://korabley.net/_nw/13/31847198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393" y="1696238"/>
            <a:ext cx="4104455" cy="2270610"/>
          </a:xfrm>
          <a:prstGeom prst="parallelogram">
            <a:avLst/>
          </a:prstGeom>
          <a:extLst/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8"/>
          <a:srcRect l="12930" t="6253" r="4566" b="30194"/>
          <a:stretch/>
        </p:blipFill>
        <p:spPr>
          <a:xfrm>
            <a:off x="486321" y="4312876"/>
            <a:ext cx="4899767" cy="2270610"/>
          </a:xfrm>
          <a:prstGeom prst="parallelogram">
            <a:avLst/>
          </a:prstGeom>
        </p:spPr>
      </p:pic>
    </p:spTree>
    <p:extLst>
      <p:ext uri="{BB962C8B-B14F-4D97-AF65-F5344CB8AC3E}">
        <p14:creationId xmlns:p14="http://schemas.microsoft.com/office/powerpoint/2010/main" val="2099082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 </a:t>
            </a:r>
            <a:r>
              <a:rPr lang="en-US" dirty="0"/>
              <a:t>COMPANY’S PROFILE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2</a:t>
            </a:fld>
            <a:endParaRPr lang="ru-RU"/>
          </a:p>
        </p:txBody>
      </p:sp>
      <p:sp>
        <p:nvSpPr>
          <p:cNvPr id="17" name="Content Placeholder 2"/>
          <p:cNvSpPr txBox="1">
            <a:spLocks/>
          </p:cNvSpPr>
          <p:nvPr/>
        </p:nvSpPr>
        <p:spPr>
          <a:xfrm>
            <a:off x="1111864" y="1728191"/>
            <a:ext cx="8712968" cy="2952701"/>
          </a:xfrm>
          <a:prstGeom prst="rect">
            <a:avLst/>
          </a:prstGeom>
        </p:spPr>
        <p:txBody>
          <a:bodyPr>
            <a:noAutofit/>
          </a:bodyPr>
          <a:lstStyle>
            <a:lvl1pPr marL="406611" indent="-406611" algn="l" defTabSz="108429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0990" indent="-338842" algn="l" defTabSz="108429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55369" indent="-271074" algn="l" defTabSz="108429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97517" indent="-271074" algn="l" defTabSz="108429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9665" indent="-271074" algn="l" defTabSz="108429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1813" indent="-271074" algn="l" defTabSz="108429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23960" indent="-271074" algn="l" defTabSz="108429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66108" indent="-271074" algn="l" defTabSz="108429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08256" indent="-271074" algn="l" defTabSz="108429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Bef>
                <a:spcPts val="0"/>
              </a:spcBef>
              <a:spcAft>
                <a:spcPts val="900"/>
              </a:spcAft>
              <a:buNone/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  <a:cs typeface="Arial" pitchFamily="34" charset="0"/>
              </a:rPr>
              <a:t>In 2012 </a:t>
            </a:r>
            <a:r>
              <a:rPr lang="en-US" sz="1800" dirty="0">
                <a:solidFill>
                  <a:srgbClr val="982920"/>
                </a:solidFill>
                <a:latin typeface="PT Sans Narrow" panose="020B0604020202020204" charset="-52"/>
                <a:cs typeface="Arial" pitchFamily="34" charset="0"/>
              </a:rPr>
              <a:t>FREIGHT VILLAGE RU 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  <a:cs typeface="Arial" pitchFamily="34" charset="0"/>
              </a:rPr>
              <a:t>started development of the largest multimodal industrial-logistics centre in Russia in unique concept of ‘freight village’ – Freight Village Vorsino and Freight Village </a:t>
            </a:r>
            <a:r>
              <a:rPr lang="en-US" sz="1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  <a:cs typeface="Arial" pitchFamily="34" charset="0"/>
              </a:rPr>
              <a:t>Rosva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  <a:cs typeface="Arial" pitchFamily="34" charset="0"/>
              </a:rPr>
              <a:t>.</a:t>
            </a:r>
          </a:p>
          <a:p>
            <a:pPr marL="0" indent="0" algn="just">
              <a:spcBef>
                <a:spcPts val="0"/>
              </a:spcBef>
              <a:spcAft>
                <a:spcPts val="900"/>
              </a:spcAft>
              <a:buNone/>
            </a:pPr>
            <a:r>
              <a:rPr lang="ru-RU" sz="1800" dirty="0">
                <a:solidFill>
                  <a:srgbClr val="153179"/>
                </a:solidFill>
                <a:latin typeface="PT Sans Narrow" pitchFamily="34" charset="-52"/>
              </a:rPr>
              <a:t>FREIGHT VILLAGE VORSINO </a:t>
            </a:r>
            <a:r>
              <a:rPr lang="ru-RU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itchFamily="34" charset="-52"/>
              </a:rPr>
              <a:t>(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itchFamily="34" charset="-52"/>
              </a:rPr>
              <a:t>international format of freight village, </a:t>
            </a:r>
            <a:r>
              <a:rPr lang="ru-RU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itchFamily="34" charset="-52"/>
              </a:rPr>
              <a:t>570 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itchFamily="34" charset="-52"/>
              </a:rPr>
              <a:t>ha</a:t>
            </a:r>
            <a:r>
              <a:rPr lang="ru-RU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itchFamily="34" charset="-52"/>
              </a:rPr>
              <a:t>) 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itchFamily="34" charset="-52"/>
              </a:rPr>
              <a:t>located on the border of Moscow and Kaluga region as a part of Industrial Park Vorsino. </a:t>
            </a:r>
          </a:p>
          <a:p>
            <a:pPr marL="0" indent="0" algn="just">
              <a:spcBef>
                <a:spcPts val="0"/>
              </a:spcBef>
              <a:spcAft>
                <a:spcPts val="900"/>
              </a:spcAft>
              <a:buNone/>
            </a:pPr>
            <a:r>
              <a:rPr lang="en-US" sz="1800" dirty="0">
                <a:solidFill>
                  <a:srgbClr val="153179"/>
                </a:solidFill>
                <a:latin typeface="PT Sans Narrow" pitchFamily="34" charset="-52"/>
              </a:rPr>
              <a:t>FREIGTH VILLAGE ROSVA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itchFamily="34" charset="-52"/>
              </a:rPr>
              <a:t> (regional format of freight village,</a:t>
            </a:r>
            <a:r>
              <a:rPr lang="ru-RU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itchFamily="34" charset="-52"/>
              </a:rPr>
              <a:t> 64 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itchFamily="34" charset="-52"/>
              </a:rPr>
              <a:t>ha</a:t>
            </a:r>
            <a:r>
              <a:rPr lang="ru-RU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itchFamily="34" charset="-52"/>
              </a:rPr>
              <a:t>) 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itchFamily="34" charset="-52"/>
              </a:rPr>
              <a:t>located on the border of Kaluga as a part of Industrial Park </a:t>
            </a:r>
            <a:r>
              <a:rPr lang="en-US" sz="1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PT Sans Narrow" pitchFamily="34" charset="-52"/>
              </a:rPr>
              <a:t>Rosva</a:t>
            </a:r>
            <a:r>
              <a:rPr lang="ru-RU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itchFamily="34" charset="-52"/>
              </a:rPr>
              <a:t>.</a:t>
            </a:r>
            <a:endParaRPr lang="en-US" sz="1800" dirty="0">
              <a:solidFill>
                <a:schemeClr val="tx1">
                  <a:lumMod val="75000"/>
                  <a:lumOff val="25000"/>
                </a:schemeClr>
              </a:solidFill>
              <a:latin typeface="PT Sans Narrow" pitchFamily="34" charset="-52"/>
            </a:endParaRPr>
          </a:p>
          <a:p>
            <a:pPr marL="0" indent="0" algn="just">
              <a:spcBef>
                <a:spcPts val="0"/>
              </a:spcBef>
              <a:spcAft>
                <a:spcPts val="900"/>
              </a:spcAft>
              <a:buNone/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  <a:cs typeface="Arial" pitchFamily="34" charset="0"/>
              </a:rPr>
              <a:t>The Group offers warehouse and industrial facilities for rent and owner-occupation, industrial land for sale and delivers rail container terminal and customs services to the market, as well as developing large-scale industrial and residential projects.</a:t>
            </a:r>
            <a:endParaRPr lang="ru-RU" sz="1800" dirty="0">
              <a:solidFill>
                <a:schemeClr val="tx1">
                  <a:lumMod val="75000"/>
                  <a:lumOff val="25000"/>
                </a:schemeClr>
              </a:solidFill>
              <a:latin typeface="PT Sans Narrow" pitchFamily="34" charset="-52"/>
            </a:endParaRPr>
          </a:p>
        </p:txBody>
      </p:sp>
      <p:pic>
        <p:nvPicPr>
          <p:cNvPr id="16" name="Picture 8" descr="http://ptzgovorit.ru/sites/default/files/original_nodes/stroitelstvo2_0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5535570"/>
            <a:ext cx="4396202" cy="2386055"/>
          </a:xfrm>
          <a:prstGeom prst="rect">
            <a:avLst/>
          </a:prstGeom>
          <a:solidFill>
            <a:schemeClr val="bg1">
              <a:lumMod val="85000"/>
            </a:schemeClr>
          </a:solidFill>
          <a:ln w="15875">
            <a:solidFill>
              <a:schemeClr val="bg1"/>
            </a:solidFill>
            <a:miter lim="800000"/>
            <a:headEnd/>
            <a:tailEnd/>
          </a:ln>
          <a:extLst/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46561" y="5535570"/>
            <a:ext cx="3638256" cy="2398265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8174601" y="5259781"/>
            <a:ext cx="20020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itchFamily="34" charset="-52"/>
              </a:rPr>
              <a:t>Customs terminal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646069" y="5257026"/>
            <a:ext cx="26642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itchFamily="34" charset="-52"/>
              </a:defRPr>
            </a:lvl1pPr>
          </a:lstStyle>
          <a:p>
            <a:r>
              <a:rPr lang="en-US" sz="1200" dirty="0"/>
              <a:t>Container terminal </a:t>
            </a:r>
            <a:endParaRPr lang="ru-RU" sz="1200" dirty="0"/>
          </a:p>
        </p:txBody>
      </p:sp>
      <p:sp>
        <p:nvSpPr>
          <p:cNvPr id="24" name="TextBox 23"/>
          <p:cNvSpPr txBox="1"/>
          <p:nvPr/>
        </p:nvSpPr>
        <p:spPr>
          <a:xfrm>
            <a:off x="5377954" y="5257026"/>
            <a:ext cx="24171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itchFamily="34" charset="-52"/>
              </a:defRPr>
            </a:lvl1pPr>
          </a:lstStyle>
          <a:p>
            <a:r>
              <a:rPr lang="en-US" sz="1200" dirty="0"/>
              <a:t>Cross-docking warehouses</a:t>
            </a:r>
            <a:endParaRPr lang="ru-RU" sz="1200" dirty="0"/>
          </a:p>
        </p:txBody>
      </p:sp>
      <p:sp>
        <p:nvSpPr>
          <p:cNvPr id="25" name="TextBox 24"/>
          <p:cNvSpPr txBox="1"/>
          <p:nvPr/>
        </p:nvSpPr>
        <p:spPr>
          <a:xfrm>
            <a:off x="0" y="5257026"/>
            <a:ext cx="23445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itchFamily="34" charset="-52"/>
              </a:defRPr>
            </a:lvl1pPr>
          </a:lstStyle>
          <a:p>
            <a:r>
              <a:rPr lang="en-US" sz="1200" dirty="0"/>
              <a:t>Industrial land</a:t>
            </a:r>
            <a:endParaRPr lang="ru-RU" sz="1200" dirty="0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82865" y="5535569"/>
            <a:ext cx="4172423" cy="2386056"/>
          </a:xfrm>
          <a:prstGeom prst="rect">
            <a:avLst/>
          </a:prstGeom>
        </p:spPr>
      </p:pic>
      <p:pic>
        <p:nvPicPr>
          <p:cNvPr id="27" name="Picture 6" descr="https://img.gazeta.ru/files3/313/5566313/TASS_3969856-pic668-668x444-57897.jpg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74603" y="5534025"/>
            <a:ext cx="2896894" cy="2399809"/>
          </a:xfrm>
          <a:prstGeom prst="rect">
            <a:avLst/>
          </a:prstGeom>
          <a:noFill/>
          <a:extLst/>
        </p:spPr>
      </p:pic>
    </p:spTree>
    <p:extLst>
      <p:ext uri="{BB962C8B-B14F-4D97-AF65-F5344CB8AC3E}">
        <p14:creationId xmlns:p14="http://schemas.microsoft.com/office/powerpoint/2010/main" val="1234081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50414" y="1241212"/>
            <a:ext cx="8096980" cy="5815944"/>
          </a:xfrm>
          <a:prstGeom prst="rect">
            <a:avLst/>
          </a:prstGeom>
        </p:spPr>
      </p:pic>
      <p:grpSp>
        <p:nvGrpSpPr>
          <p:cNvPr id="3" name="Группа 2"/>
          <p:cNvGrpSpPr/>
          <p:nvPr/>
        </p:nvGrpSpPr>
        <p:grpSpPr>
          <a:xfrm>
            <a:off x="1451972" y="1346622"/>
            <a:ext cx="7911102" cy="5302681"/>
            <a:chOff x="1451972" y="1543049"/>
            <a:chExt cx="7911102" cy="5302681"/>
          </a:xfrm>
        </p:grpSpPr>
        <p:sp>
          <p:nvSpPr>
            <p:cNvPr id="16" name="Полилиния 15"/>
            <p:cNvSpPr/>
            <p:nvPr/>
          </p:nvSpPr>
          <p:spPr>
            <a:xfrm>
              <a:off x="1451972" y="2453205"/>
              <a:ext cx="4924893" cy="4392525"/>
            </a:xfrm>
            <a:custGeom>
              <a:avLst/>
              <a:gdLst>
                <a:gd name="connsiteX0" fmla="*/ 0 w 4857750"/>
                <a:gd name="connsiteY0" fmla="*/ 38100 h 1638300"/>
                <a:gd name="connsiteX1" fmla="*/ 704850 w 4857750"/>
                <a:gd name="connsiteY1" fmla="*/ 238125 h 1638300"/>
                <a:gd name="connsiteX2" fmla="*/ 504825 w 4857750"/>
                <a:gd name="connsiteY2" fmla="*/ 295275 h 1638300"/>
                <a:gd name="connsiteX3" fmla="*/ 2381250 w 4857750"/>
                <a:gd name="connsiteY3" fmla="*/ 952500 h 1638300"/>
                <a:gd name="connsiteX4" fmla="*/ 704850 w 4857750"/>
                <a:gd name="connsiteY4" fmla="*/ 1409700 h 1638300"/>
                <a:gd name="connsiteX5" fmla="*/ 885825 w 4857750"/>
                <a:gd name="connsiteY5" fmla="*/ 1514475 h 1638300"/>
                <a:gd name="connsiteX6" fmla="*/ 1409700 w 4857750"/>
                <a:gd name="connsiteY6" fmla="*/ 1362075 h 1638300"/>
                <a:gd name="connsiteX7" fmla="*/ 1924050 w 4857750"/>
                <a:gd name="connsiteY7" fmla="*/ 1581150 h 1638300"/>
                <a:gd name="connsiteX8" fmla="*/ 3190875 w 4857750"/>
                <a:gd name="connsiteY8" fmla="*/ 1171575 h 1638300"/>
                <a:gd name="connsiteX9" fmla="*/ 4476750 w 4857750"/>
                <a:gd name="connsiteY9" fmla="*/ 1638300 h 1638300"/>
                <a:gd name="connsiteX10" fmla="*/ 4857750 w 4857750"/>
                <a:gd name="connsiteY10" fmla="*/ 1447800 h 1638300"/>
                <a:gd name="connsiteX11" fmla="*/ 1009650 w 4857750"/>
                <a:gd name="connsiteY11" fmla="*/ 209550 h 1638300"/>
                <a:gd name="connsiteX12" fmla="*/ 76200 w 4857750"/>
                <a:gd name="connsiteY12" fmla="*/ 0 h 1638300"/>
                <a:gd name="connsiteX13" fmla="*/ 0 w 4857750"/>
                <a:gd name="connsiteY13" fmla="*/ 38100 h 1638300"/>
                <a:gd name="connsiteX0" fmla="*/ 0 w 6000007"/>
                <a:gd name="connsiteY0" fmla="*/ 38100 h 2036606"/>
                <a:gd name="connsiteX1" fmla="*/ 704850 w 6000007"/>
                <a:gd name="connsiteY1" fmla="*/ 238125 h 2036606"/>
                <a:gd name="connsiteX2" fmla="*/ 504825 w 6000007"/>
                <a:gd name="connsiteY2" fmla="*/ 295275 h 2036606"/>
                <a:gd name="connsiteX3" fmla="*/ 2381250 w 6000007"/>
                <a:gd name="connsiteY3" fmla="*/ 952500 h 2036606"/>
                <a:gd name="connsiteX4" fmla="*/ 704850 w 6000007"/>
                <a:gd name="connsiteY4" fmla="*/ 1409700 h 2036606"/>
                <a:gd name="connsiteX5" fmla="*/ 885825 w 6000007"/>
                <a:gd name="connsiteY5" fmla="*/ 1514475 h 2036606"/>
                <a:gd name="connsiteX6" fmla="*/ 1409700 w 6000007"/>
                <a:gd name="connsiteY6" fmla="*/ 1362075 h 2036606"/>
                <a:gd name="connsiteX7" fmla="*/ 1924050 w 6000007"/>
                <a:gd name="connsiteY7" fmla="*/ 1581150 h 2036606"/>
                <a:gd name="connsiteX8" fmla="*/ 3190875 w 6000007"/>
                <a:gd name="connsiteY8" fmla="*/ 1171575 h 2036606"/>
                <a:gd name="connsiteX9" fmla="*/ 6000007 w 6000007"/>
                <a:gd name="connsiteY9" fmla="*/ 2036606 h 2036606"/>
                <a:gd name="connsiteX10" fmla="*/ 4857750 w 6000007"/>
                <a:gd name="connsiteY10" fmla="*/ 1447800 h 2036606"/>
                <a:gd name="connsiteX11" fmla="*/ 1009650 w 6000007"/>
                <a:gd name="connsiteY11" fmla="*/ 209550 h 2036606"/>
                <a:gd name="connsiteX12" fmla="*/ 76200 w 6000007"/>
                <a:gd name="connsiteY12" fmla="*/ 0 h 2036606"/>
                <a:gd name="connsiteX13" fmla="*/ 0 w 6000007"/>
                <a:gd name="connsiteY13" fmla="*/ 38100 h 2036606"/>
                <a:gd name="connsiteX0" fmla="*/ 0 w 7025458"/>
                <a:gd name="connsiteY0" fmla="*/ 38100 h 2164752"/>
                <a:gd name="connsiteX1" fmla="*/ 704850 w 7025458"/>
                <a:gd name="connsiteY1" fmla="*/ 238125 h 2164752"/>
                <a:gd name="connsiteX2" fmla="*/ 504825 w 7025458"/>
                <a:gd name="connsiteY2" fmla="*/ 295275 h 2164752"/>
                <a:gd name="connsiteX3" fmla="*/ 2381250 w 7025458"/>
                <a:gd name="connsiteY3" fmla="*/ 952500 h 2164752"/>
                <a:gd name="connsiteX4" fmla="*/ 704850 w 7025458"/>
                <a:gd name="connsiteY4" fmla="*/ 1409700 h 2164752"/>
                <a:gd name="connsiteX5" fmla="*/ 885825 w 7025458"/>
                <a:gd name="connsiteY5" fmla="*/ 1514475 h 2164752"/>
                <a:gd name="connsiteX6" fmla="*/ 1409700 w 7025458"/>
                <a:gd name="connsiteY6" fmla="*/ 1362075 h 2164752"/>
                <a:gd name="connsiteX7" fmla="*/ 1924050 w 7025458"/>
                <a:gd name="connsiteY7" fmla="*/ 1581150 h 2164752"/>
                <a:gd name="connsiteX8" fmla="*/ 3190875 w 7025458"/>
                <a:gd name="connsiteY8" fmla="*/ 1171575 h 2164752"/>
                <a:gd name="connsiteX9" fmla="*/ 6000007 w 7025458"/>
                <a:gd name="connsiteY9" fmla="*/ 2036606 h 2164752"/>
                <a:gd name="connsiteX10" fmla="*/ 7025458 w 7025458"/>
                <a:gd name="connsiteY10" fmla="*/ 2164752 h 2164752"/>
                <a:gd name="connsiteX11" fmla="*/ 1009650 w 7025458"/>
                <a:gd name="connsiteY11" fmla="*/ 209550 h 2164752"/>
                <a:gd name="connsiteX12" fmla="*/ 76200 w 7025458"/>
                <a:gd name="connsiteY12" fmla="*/ 0 h 2164752"/>
                <a:gd name="connsiteX13" fmla="*/ 0 w 7025458"/>
                <a:gd name="connsiteY13" fmla="*/ 38100 h 2164752"/>
                <a:gd name="connsiteX0" fmla="*/ 0 w 7025458"/>
                <a:gd name="connsiteY0" fmla="*/ 38100 h 2164752"/>
                <a:gd name="connsiteX1" fmla="*/ 704850 w 7025458"/>
                <a:gd name="connsiteY1" fmla="*/ 238125 h 2164752"/>
                <a:gd name="connsiteX2" fmla="*/ 504825 w 7025458"/>
                <a:gd name="connsiteY2" fmla="*/ 295275 h 2164752"/>
                <a:gd name="connsiteX3" fmla="*/ 2381250 w 7025458"/>
                <a:gd name="connsiteY3" fmla="*/ 952500 h 2164752"/>
                <a:gd name="connsiteX4" fmla="*/ 704850 w 7025458"/>
                <a:gd name="connsiteY4" fmla="*/ 1409700 h 2164752"/>
                <a:gd name="connsiteX5" fmla="*/ 885825 w 7025458"/>
                <a:gd name="connsiteY5" fmla="*/ 1514475 h 2164752"/>
                <a:gd name="connsiteX6" fmla="*/ 1409700 w 7025458"/>
                <a:gd name="connsiteY6" fmla="*/ 1362075 h 2164752"/>
                <a:gd name="connsiteX7" fmla="*/ 1924050 w 7025458"/>
                <a:gd name="connsiteY7" fmla="*/ 1581150 h 2164752"/>
                <a:gd name="connsiteX8" fmla="*/ 3190875 w 7025458"/>
                <a:gd name="connsiteY8" fmla="*/ 1171575 h 2164752"/>
                <a:gd name="connsiteX9" fmla="*/ 6000007 w 7025458"/>
                <a:gd name="connsiteY9" fmla="*/ 2036606 h 2164752"/>
                <a:gd name="connsiteX10" fmla="*/ 6459965 w 7025458"/>
                <a:gd name="connsiteY10" fmla="*/ 2102863 h 2164752"/>
                <a:gd name="connsiteX11" fmla="*/ 7025458 w 7025458"/>
                <a:gd name="connsiteY11" fmla="*/ 2164752 h 2164752"/>
                <a:gd name="connsiteX12" fmla="*/ 1009650 w 7025458"/>
                <a:gd name="connsiteY12" fmla="*/ 209550 h 2164752"/>
                <a:gd name="connsiteX13" fmla="*/ 76200 w 7025458"/>
                <a:gd name="connsiteY13" fmla="*/ 0 h 2164752"/>
                <a:gd name="connsiteX14" fmla="*/ 0 w 7025458"/>
                <a:gd name="connsiteY14" fmla="*/ 38100 h 2164752"/>
                <a:gd name="connsiteX0" fmla="*/ 0 w 8178508"/>
                <a:gd name="connsiteY0" fmla="*/ 38100 h 2967758"/>
                <a:gd name="connsiteX1" fmla="*/ 704850 w 8178508"/>
                <a:gd name="connsiteY1" fmla="*/ 238125 h 2967758"/>
                <a:gd name="connsiteX2" fmla="*/ 504825 w 8178508"/>
                <a:gd name="connsiteY2" fmla="*/ 295275 h 2967758"/>
                <a:gd name="connsiteX3" fmla="*/ 2381250 w 8178508"/>
                <a:gd name="connsiteY3" fmla="*/ 952500 h 2967758"/>
                <a:gd name="connsiteX4" fmla="*/ 704850 w 8178508"/>
                <a:gd name="connsiteY4" fmla="*/ 1409700 h 2967758"/>
                <a:gd name="connsiteX5" fmla="*/ 885825 w 8178508"/>
                <a:gd name="connsiteY5" fmla="*/ 1514475 h 2967758"/>
                <a:gd name="connsiteX6" fmla="*/ 1409700 w 8178508"/>
                <a:gd name="connsiteY6" fmla="*/ 1362075 h 2967758"/>
                <a:gd name="connsiteX7" fmla="*/ 1924050 w 8178508"/>
                <a:gd name="connsiteY7" fmla="*/ 1581150 h 2967758"/>
                <a:gd name="connsiteX8" fmla="*/ 3190875 w 8178508"/>
                <a:gd name="connsiteY8" fmla="*/ 1171575 h 2967758"/>
                <a:gd name="connsiteX9" fmla="*/ 6000007 w 8178508"/>
                <a:gd name="connsiteY9" fmla="*/ 2036606 h 2967758"/>
                <a:gd name="connsiteX10" fmla="*/ 8178508 w 8178508"/>
                <a:gd name="connsiteY10" fmla="*/ 2967758 h 2967758"/>
                <a:gd name="connsiteX11" fmla="*/ 7025458 w 8178508"/>
                <a:gd name="connsiteY11" fmla="*/ 2164752 h 2967758"/>
                <a:gd name="connsiteX12" fmla="*/ 1009650 w 8178508"/>
                <a:gd name="connsiteY12" fmla="*/ 209550 h 2967758"/>
                <a:gd name="connsiteX13" fmla="*/ 76200 w 8178508"/>
                <a:gd name="connsiteY13" fmla="*/ 0 h 2967758"/>
                <a:gd name="connsiteX14" fmla="*/ 0 w 8178508"/>
                <a:gd name="connsiteY14" fmla="*/ 38100 h 2967758"/>
                <a:gd name="connsiteX0" fmla="*/ 0 w 8178508"/>
                <a:gd name="connsiteY0" fmla="*/ 38100 h 2967758"/>
                <a:gd name="connsiteX1" fmla="*/ 704850 w 8178508"/>
                <a:gd name="connsiteY1" fmla="*/ 238125 h 2967758"/>
                <a:gd name="connsiteX2" fmla="*/ 504825 w 8178508"/>
                <a:gd name="connsiteY2" fmla="*/ 295275 h 2967758"/>
                <a:gd name="connsiteX3" fmla="*/ 2381250 w 8178508"/>
                <a:gd name="connsiteY3" fmla="*/ 952500 h 2967758"/>
                <a:gd name="connsiteX4" fmla="*/ 704850 w 8178508"/>
                <a:gd name="connsiteY4" fmla="*/ 1409700 h 2967758"/>
                <a:gd name="connsiteX5" fmla="*/ 885825 w 8178508"/>
                <a:gd name="connsiteY5" fmla="*/ 1514475 h 2967758"/>
                <a:gd name="connsiteX6" fmla="*/ 1409700 w 8178508"/>
                <a:gd name="connsiteY6" fmla="*/ 1362075 h 2967758"/>
                <a:gd name="connsiteX7" fmla="*/ 1924050 w 8178508"/>
                <a:gd name="connsiteY7" fmla="*/ 1581150 h 2967758"/>
                <a:gd name="connsiteX8" fmla="*/ 3190875 w 8178508"/>
                <a:gd name="connsiteY8" fmla="*/ 1171575 h 2967758"/>
                <a:gd name="connsiteX9" fmla="*/ 6000007 w 8178508"/>
                <a:gd name="connsiteY9" fmla="*/ 2036606 h 2967758"/>
                <a:gd name="connsiteX10" fmla="*/ 6997008 w 8178508"/>
                <a:gd name="connsiteY10" fmla="*/ 2455648 h 2967758"/>
                <a:gd name="connsiteX11" fmla="*/ 8178508 w 8178508"/>
                <a:gd name="connsiteY11" fmla="*/ 2967758 h 2967758"/>
                <a:gd name="connsiteX12" fmla="*/ 7025458 w 8178508"/>
                <a:gd name="connsiteY12" fmla="*/ 2164752 h 2967758"/>
                <a:gd name="connsiteX13" fmla="*/ 1009650 w 8178508"/>
                <a:gd name="connsiteY13" fmla="*/ 209550 h 2967758"/>
                <a:gd name="connsiteX14" fmla="*/ 76200 w 8178508"/>
                <a:gd name="connsiteY14" fmla="*/ 0 h 2967758"/>
                <a:gd name="connsiteX15" fmla="*/ 0 w 8178508"/>
                <a:gd name="connsiteY15" fmla="*/ 38100 h 2967758"/>
                <a:gd name="connsiteX0" fmla="*/ 0 w 8373794"/>
                <a:gd name="connsiteY0" fmla="*/ 38100 h 3707469"/>
                <a:gd name="connsiteX1" fmla="*/ 704850 w 8373794"/>
                <a:gd name="connsiteY1" fmla="*/ 238125 h 3707469"/>
                <a:gd name="connsiteX2" fmla="*/ 504825 w 8373794"/>
                <a:gd name="connsiteY2" fmla="*/ 295275 h 3707469"/>
                <a:gd name="connsiteX3" fmla="*/ 2381250 w 8373794"/>
                <a:gd name="connsiteY3" fmla="*/ 952500 h 3707469"/>
                <a:gd name="connsiteX4" fmla="*/ 704850 w 8373794"/>
                <a:gd name="connsiteY4" fmla="*/ 1409700 h 3707469"/>
                <a:gd name="connsiteX5" fmla="*/ 885825 w 8373794"/>
                <a:gd name="connsiteY5" fmla="*/ 1514475 h 3707469"/>
                <a:gd name="connsiteX6" fmla="*/ 1409700 w 8373794"/>
                <a:gd name="connsiteY6" fmla="*/ 1362075 h 3707469"/>
                <a:gd name="connsiteX7" fmla="*/ 1924050 w 8373794"/>
                <a:gd name="connsiteY7" fmla="*/ 1581150 h 3707469"/>
                <a:gd name="connsiteX8" fmla="*/ 3190875 w 8373794"/>
                <a:gd name="connsiteY8" fmla="*/ 1171575 h 3707469"/>
                <a:gd name="connsiteX9" fmla="*/ 6000007 w 8373794"/>
                <a:gd name="connsiteY9" fmla="*/ 2036606 h 3707469"/>
                <a:gd name="connsiteX10" fmla="*/ 8373794 w 8373794"/>
                <a:gd name="connsiteY10" fmla="*/ 3707469 h 3707469"/>
                <a:gd name="connsiteX11" fmla="*/ 8178508 w 8373794"/>
                <a:gd name="connsiteY11" fmla="*/ 2967758 h 3707469"/>
                <a:gd name="connsiteX12" fmla="*/ 7025458 w 8373794"/>
                <a:gd name="connsiteY12" fmla="*/ 2164752 h 3707469"/>
                <a:gd name="connsiteX13" fmla="*/ 1009650 w 8373794"/>
                <a:gd name="connsiteY13" fmla="*/ 209550 h 3707469"/>
                <a:gd name="connsiteX14" fmla="*/ 76200 w 8373794"/>
                <a:gd name="connsiteY14" fmla="*/ 0 h 3707469"/>
                <a:gd name="connsiteX15" fmla="*/ 0 w 8373794"/>
                <a:gd name="connsiteY15" fmla="*/ 38100 h 3707469"/>
                <a:gd name="connsiteX0" fmla="*/ 0 w 8373794"/>
                <a:gd name="connsiteY0" fmla="*/ 38100 h 3707469"/>
                <a:gd name="connsiteX1" fmla="*/ 704850 w 8373794"/>
                <a:gd name="connsiteY1" fmla="*/ 238125 h 3707469"/>
                <a:gd name="connsiteX2" fmla="*/ 504825 w 8373794"/>
                <a:gd name="connsiteY2" fmla="*/ 295275 h 3707469"/>
                <a:gd name="connsiteX3" fmla="*/ 2381250 w 8373794"/>
                <a:gd name="connsiteY3" fmla="*/ 952500 h 3707469"/>
                <a:gd name="connsiteX4" fmla="*/ 704850 w 8373794"/>
                <a:gd name="connsiteY4" fmla="*/ 1409700 h 3707469"/>
                <a:gd name="connsiteX5" fmla="*/ 885825 w 8373794"/>
                <a:gd name="connsiteY5" fmla="*/ 1514475 h 3707469"/>
                <a:gd name="connsiteX6" fmla="*/ 1409700 w 8373794"/>
                <a:gd name="connsiteY6" fmla="*/ 1362075 h 3707469"/>
                <a:gd name="connsiteX7" fmla="*/ 1924050 w 8373794"/>
                <a:gd name="connsiteY7" fmla="*/ 1581150 h 3707469"/>
                <a:gd name="connsiteX8" fmla="*/ 3190875 w 8373794"/>
                <a:gd name="connsiteY8" fmla="*/ 1171575 h 3707469"/>
                <a:gd name="connsiteX9" fmla="*/ 6000007 w 8373794"/>
                <a:gd name="connsiteY9" fmla="*/ 2036606 h 3707469"/>
                <a:gd name="connsiteX10" fmla="*/ 7504757 w 8373794"/>
                <a:gd name="connsiteY10" fmla="*/ 3081557 h 3707469"/>
                <a:gd name="connsiteX11" fmla="*/ 8373794 w 8373794"/>
                <a:gd name="connsiteY11" fmla="*/ 3707469 h 3707469"/>
                <a:gd name="connsiteX12" fmla="*/ 8178508 w 8373794"/>
                <a:gd name="connsiteY12" fmla="*/ 2967758 h 3707469"/>
                <a:gd name="connsiteX13" fmla="*/ 7025458 w 8373794"/>
                <a:gd name="connsiteY13" fmla="*/ 2164752 h 3707469"/>
                <a:gd name="connsiteX14" fmla="*/ 1009650 w 8373794"/>
                <a:gd name="connsiteY14" fmla="*/ 209550 h 3707469"/>
                <a:gd name="connsiteX15" fmla="*/ 76200 w 8373794"/>
                <a:gd name="connsiteY15" fmla="*/ 0 h 3707469"/>
                <a:gd name="connsiteX16" fmla="*/ 0 w 8373794"/>
                <a:gd name="connsiteY16" fmla="*/ 38100 h 3707469"/>
                <a:gd name="connsiteX0" fmla="*/ 0 w 8373794"/>
                <a:gd name="connsiteY0" fmla="*/ 38100 h 4117156"/>
                <a:gd name="connsiteX1" fmla="*/ 704850 w 8373794"/>
                <a:gd name="connsiteY1" fmla="*/ 238125 h 4117156"/>
                <a:gd name="connsiteX2" fmla="*/ 504825 w 8373794"/>
                <a:gd name="connsiteY2" fmla="*/ 295275 h 4117156"/>
                <a:gd name="connsiteX3" fmla="*/ 2381250 w 8373794"/>
                <a:gd name="connsiteY3" fmla="*/ 952500 h 4117156"/>
                <a:gd name="connsiteX4" fmla="*/ 704850 w 8373794"/>
                <a:gd name="connsiteY4" fmla="*/ 1409700 h 4117156"/>
                <a:gd name="connsiteX5" fmla="*/ 885825 w 8373794"/>
                <a:gd name="connsiteY5" fmla="*/ 1514475 h 4117156"/>
                <a:gd name="connsiteX6" fmla="*/ 1409700 w 8373794"/>
                <a:gd name="connsiteY6" fmla="*/ 1362075 h 4117156"/>
                <a:gd name="connsiteX7" fmla="*/ 1924050 w 8373794"/>
                <a:gd name="connsiteY7" fmla="*/ 1581150 h 4117156"/>
                <a:gd name="connsiteX8" fmla="*/ 3190875 w 8373794"/>
                <a:gd name="connsiteY8" fmla="*/ 1171575 h 4117156"/>
                <a:gd name="connsiteX9" fmla="*/ 6000007 w 8373794"/>
                <a:gd name="connsiteY9" fmla="*/ 2036606 h 4117156"/>
                <a:gd name="connsiteX10" fmla="*/ 8178506 w 8373794"/>
                <a:gd name="connsiteY10" fmla="*/ 4117156 h 4117156"/>
                <a:gd name="connsiteX11" fmla="*/ 8373794 w 8373794"/>
                <a:gd name="connsiteY11" fmla="*/ 3707469 h 4117156"/>
                <a:gd name="connsiteX12" fmla="*/ 8178508 w 8373794"/>
                <a:gd name="connsiteY12" fmla="*/ 2967758 h 4117156"/>
                <a:gd name="connsiteX13" fmla="*/ 7025458 w 8373794"/>
                <a:gd name="connsiteY13" fmla="*/ 2164752 h 4117156"/>
                <a:gd name="connsiteX14" fmla="*/ 1009650 w 8373794"/>
                <a:gd name="connsiteY14" fmla="*/ 209550 h 4117156"/>
                <a:gd name="connsiteX15" fmla="*/ 76200 w 8373794"/>
                <a:gd name="connsiteY15" fmla="*/ 0 h 4117156"/>
                <a:gd name="connsiteX16" fmla="*/ 0 w 8373794"/>
                <a:gd name="connsiteY16" fmla="*/ 38100 h 4117156"/>
                <a:gd name="connsiteX0" fmla="*/ 0 w 8373794"/>
                <a:gd name="connsiteY0" fmla="*/ 38100 h 4117156"/>
                <a:gd name="connsiteX1" fmla="*/ 704850 w 8373794"/>
                <a:gd name="connsiteY1" fmla="*/ 238125 h 4117156"/>
                <a:gd name="connsiteX2" fmla="*/ 504825 w 8373794"/>
                <a:gd name="connsiteY2" fmla="*/ 295275 h 4117156"/>
                <a:gd name="connsiteX3" fmla="*/ 2381250 w 8373794"/>
                <a:gd name="connsiteY3" fmla="*/ 952500 h 4117156"/>
                <a:gd name="connsiteX4" fmla="*/ 704850 w 8373794"/>
                <a:gd name="connsiteY4" fmla="*/ 1409700 h 4117156"/>
                <a:gd name="connsiteX5" fmla="*/ 885825 w 8373794"/>
                <a:gd name="connsiteY5" fmla="*/ 1514475 h 4117156"/>
                <a:gd name="connsiteX6" fmla="*/ 1409700 w 8373794"/>
                <a:gd name="connsiteY6" fmla="*/ 1362075 h 4117156"/>
                <a:gd name="connsiteX7" fmla="*/ 1924050 w 8373794"/>
                <a:gd name="connsiteY7" fmla="*/ 1581150 h 4117156"/>
                <a:gd name="connsiteX8" fmla="*/ 3190875 w 8373794"/>
                <a:gd name="connsiteY8" fmla="*/ 1171575 h 4117156"/>
                <a:gd name="connsiteX9" fmla="*/ 6000007 w 8373794"/>
                <a:gd name="connsiteY9" fmla="*/ 2036606 h 4117156"/>
                <a:gd name="connsiteX10" fmla="*/ 7094652 w 8373794"/>
                <a:gd name="connsiteY10" fmla="*/ 3115698 h 4117156"/>
                <a:gd name="connsiteX11" fmla="*/ 8178506 w 8373794"/>
                <a:gd name="connsiteY11" fmla="*/ 4117156 h 4117156"/>
                <a:gd name="connsiteX12" fmla="*/ 8373794 w 8373794"/>
                <a:gd name="connsiteY12" fmla="*/ 3707469 h 4117156"/>
                <a:gd name="connsiteX13" fmla="*/ 8178508 w 8373794"/>
                <a:gd name="connsiteY13" fmla="*/ 2967758 h 4117156"/>
                <a:gd name="connsiteX14" fmla="*/ 7025458 w 8373794"/>
                <a:gd name="connsiteY14" fmla="*/ 2164752 h 4117156"/>
                <a:gd name="connsiteX15" fmla="*/ 1009650 w 8373794"/>
                <a:gd name="connsiteY15" fmla="*/ 209550 h 4117156"/>
                <a:gd name="connsiteX16" fmla="*/ 76200 w 8373794"/>
                <a:gd name="connsiteY16" fmla="*/ 0 h 4117156"/>
                <a:gd name="connsiteX17" fmla="*/ 0 w 8373794"/>
                <a:gd name="connsiteY17" fmla="*/ 38100 h 4117156"/>
                <a:gd name="connsiteX0" fmla="*/ 0 w 8373794"/>
                <a:gd name="connsiteY0" fmla="*/ 38100 h 4606503"/>
                <a:gd name="connsiteX1" fmla="*/ 704850 w 8373794"/>
                <a:gd name="connsiteY1" fmla="*/ 238125 h 4606503"/>
                <a:gd name="connsiteX2" fmla="*/ 504825 w 8373794"/>
                <a:gd name="connsiteY2" fmla="*/ 295275 h 4606503"/>
                <a:gd name="connsiteX3" fmla="*/ 2381250 w 8373794"/>
                <a:gd name="connsiteY3" fmla="*/ 952500 h 4606503"/>
                <a:gd name="connsiteX4" fmla="*/ 704850 w 8373794"/>
                <a:gd name="connsiteY4" fmla="*/ 1409700 h 4606503"/>
                <a:gd name="connsiteX5" fmla="*/ 885825 w 8373794"/>
                <a:gd name="connsiteY5" fmla="*/ 1514475 h 4606503"/>
                <a:gd name="connsiteX6" fmla="*/ 1409700 w 8373794"/>
                <a:gd name="connsiteY6" fmla="*/ 1362075 h 4606503"/>
                <a:gd name="connsiteX7" fmla="*/ 1924050 w 8373794"/>
                <a:gd name="connsiteY7" fmla="*/ 1581150 h 4606503"/>
                <a:gd name="connsiteX8" fmla="*/ 3190875 w 8373794"/>
                <a:gd name="connsiteY8" fmla="*/ 1171575 h 4606503"/>
                <a:gd name="connsiteX9" fmla="*/ 6000007 w 8373794"/>
                <a:gd name="connsiteY9" fmla="*/ 2036606 h 4606503"/>
                <a:gd name="connsiteX10" fmla="*/ 7377822 w 8373794"/>
                <a:gd name="connsiteY10" fmla="*/ 4606503 h 4606503"/>
                <a:gd name="connsiteX11" fmla="*/ 8178506 w 8373794"/>
                <a:gd name="connsiteY11" fmla="*/ 4117156 h 4606503"/>
                <a:gd name="connsiteX12" fmla="*/ 8373794 w 8373794"/>
                <a:gd name="connsiteY12" fmla="*/ 3707469 h 4606503"/>
                <a:gd name="connsiteX13" fmla="*/ 8178508 w 8373794"/>
                <a:gd name="connsiteY13" fmla="*/ 2967758 h 4606503"/>
                <a:gd name="connsiteX14" fmla="*/ 7025458 w 8373794"/>
                <a:gd name="connsiteY14" fmla="*/ 2164752 h 4606503"/>
                <a:gd name="connsiteX15" fmla="*/ 1009650 w 8373794"/>
                <a:gd name="connsiteY15" fmla="*/ 209550 h 4606503"/>
                <a:gd name="connsiteX16" fmla="*/ 76200 w 8373794"/>
                <a:gd name="connsiteY16" fmla="*/ 0 h 4606503"/>
                <a:gd name="connsiteX17" fmla="*/ 0 w 8373794"/>
                <a:gd name="connsiteY17" fmla="*/ 38100 h 4606503"/>
                <a:gd name="connsiteX0" fmla="*/ 0 w 8373794"/>
                <a:gd name="connsiteY0" fmla="*/ 38100 h 4606503"/>
                <a:gd name="connsiteX1" fmla="*/ 704850 w 8373794"/>
                <a:gd name="connsiteY1" fmla="*/ 238125 h 4606503"/>
                <a:gd name="connsiteX2" fmla="*/ 504825 w 8373794"/>
                <a:gd name="connsiteY2" fmla="*/ 295275 h 4606503"/>
                <a:gd name="connsiteX3" fmla="*/ 2381250 w 8373794"/>
                <a:gd name="connsiteY3" fmla="*/ 952500 h 4606503"/>
                <a:gd name="connsiteX4" fmla="*/ 704850 w 8373794"/>
                <a:gd name="connsiteY4" fmla="*/ 1409700 h 4606503"/>
                <a:gd name="connsiteX5" fmla="*/ 885825 w 8373794"/>
                <a:gd name="connsiteY5" fmla="*/ 1514475 h 4606503"/>
                <a:gd name="connsiteX6" fmla="*/ 1409700 w 8373794"/>
                <a:gd name="connsiteY6" fmla="*/ 1362075 h 4606503"/>
                <a:gd name="connsiteX7" fmla="*/ 1924050 w 8373794"/>
                <a:gd name="connsiteY7" fmla="*/ 1581150 h 4606503"/>
                <a:gd name="connsiteX8" fmla="*/ 3190875 w 8373794"/>
                <a:gd name="connsiteY8" fmla="*/ 1171575 h 4606503"/>
                <a:gd name="connsiteX9" fmla="*/ 6000007 w 8373794"/>
                <a:gd name="connsiteY9" fmla="*/ 2036606 h 4606503"/>
                <a:gd name="connsiteX10" fmla="*/ 6704073 w 8373794"/>
                <a:gd name="connsiteY10" fmla="*/ 3320538 h 4606503"/>
                <a:gd name="connsiteX11" fmla="*/ 7377822 w 8373794"/>
                <a:gd name="connsiteY11" fmla="*/ 4606503 h 4606503"/>
                <a:gd name="connsiteX12" fmla="*/ 8178506 w 8373794"/>
                <a:gd name="connsiteY12" fmla="*/ 4117156 h 4606503"/>
                <a:gd name="connsiteX13" fmla="*/ 8373794 w 8373794"/>
                <a:gd name="connsiteY13" fmla="*/ 3707469 h 4606503"/>
                <a:gd name="connsiteX14" fmla="*/ 8178508 w 8373794"/>
                <a:gd name="connsiteY14" fmla="*/ 2967758 h 4606503"/>
                <a:gd name="connsiteX15" fmla="*/ 7025458 w 8373794"/>
                <a:gd name="connsiteY15" fmla="*/ 2164752 h 4606503"/>
                <a:gd name="connsiteX16" fmla="*/ 1009650 w 8373794"/>
                <a:gd name="connsiteY16" fmla="*/ 209550 h 4606503"/>
                <a:gd name="connsiteX17" fmla="*/ 76200 w 8373794"/>
                <a:gd name="connsiteY17" fmla="*/ 0 h 4606503"/>
                <a:gd name="connsiteX18" fmla="*/ 0 w 8373794"/>
                <a:gd name="connsiteY18" fmla="*/ 38100 h 4606503"/>
                <a:gd name="connsiteX0" fmla="*/ 0 w 8373794"/>
                <a:gd name="connsiteY0" fmla="*/ 38100 h 4891005"/>
                <a:gd name="connsiteX1" fmla="*/ 704850 w 8373794"/>
                <a:gd name="connsiteY1" fmla="*/ 238125 h 4891005"/>
                <a:gd name="connsiteX2" fmla="*/ 504825 w 8373794"/>
                <a:gd name="connsiteY2" fmla="*/ 295275 h 4891005"/>
                <a:gd name="connsiteX3" fmla="*/ 2381250 w 8373794"/>
                <a:gd name="connsiteY3" fmla="*/ 952500 h 4891005"/>
                <a:gd name="connsiteX4" fmla="*/ 704850 w 8373794"/>
                <a:gd name="connsiteY4" fmla="*/ 1409700 h 4891005"/>
                <a:gd name="connsiteX5" fmla="*/ 885825 w 8373794"/>
                <a:gd name="connsiteY5" fmla="*/ 1514475 h 4891005"/>
                <a:gd name="connsiteX6" fmla="*/ 1409700 w 8373794"/>
                <a:gd name="connsiteY6" fmla="*/ 1362075 h 4891005"/>
                <a:gd name="connsiteX7" fmla="*/ 1924050 w 8373794"/>
                <a:gd name="connsiteY7" fmla="*/ 1581150 h 4891005"/>
                <a:gd name="connsiteX8" fmla="*/ 3190875 w 8373794"/>
                <a:gd name="connsiteY8" fmla="*/ 1171575 h 4891005"/>
                <a:gd name="connsiteX9" fmla="*/ 6000007 w 8373794"/>
                <a:gd name="connsiteY9" fmla="*/ 2036606 h 4891005"/>
                <a:gd name="connsiteX10" fmla="*/ 6274438 w 8373794"/>
                <a:gd name="connsiteY10" fmla="*/ 4891005 h 4891005"/>
                <a:gd name="connsiteX11" fmla="*/ 7377822 w 8373794"/>
                <a:gd name="connsiteY11" fmla="*/ 4606503 h 4891005"/>
                <a:gd name="connsiteX12" fmla="*/ 8178506 w 8373794"/>
                <a:gd name="connsiteY12" fmla="*/ 4117156 h 4891005"/>
                <a:gd name="connsiteX13" fmla="*/ 8373794 w 8373794"/>
                <a:gd name="connsiteY13" fmla="*/ 3707469 h 4891005"/>
                <a:gd name="connsiteX14" fmla="*/ 8178508 w 8373794"/>
                <a:gd name="connsiteY14" fmla="*/ 2967758 h 4891005"/>
                <a:gd name="connsiteX15" fmla="*/ 7025458 w 8373794"/>
                <a:gd name="connsiteY15" fmla="*/ 2164752 h 4891005"/>
                <a:gd name="connsiteX16" fmla="*/ 1009650 w 8373794"/>
                <a:gd name="connsiteY16" fmla="*/ 209550 h 4891005"/>
                <a:gd name="connsiteX17" fmla="*/ 76200 w 8373794"/>
                <a:gd name="connsiteY17" fmla="*/ 0 h 4891005"/>
                <a:gd name="connsiteX18" fmla="*/ 0 w 8373794"/>
                <a:gd name="connsiteY18" fmla="*/ 38100 h 4891005"/>
                <a:gd name="connsiteX0" fmla="*/ 0 w 8373794"/>
                <a:gd name="connsiteY0" fmla="*/ 38100 h 4891005"/>
                <a:gd name="connsiteX1" fmla="*/ 704850 w 8373794"/>
                <a:gd name="connsiteY1" fmla="*/ 238125 h 4891005"/>
                <a:gd name="connsiteX2" fmla="*/ 504825 w 8373794"/>
                <a:gd name="connsiteY2" fmla="*/ 295275 h 4891005"/>
                <a:gd name="connsiteX3" fmla="*/ 2381250 w 8373794"/>
                <a:gd name="connsiteY3" fmla="*/ 952500 h 4891005"/>
                <a:gd name="connsiteX4" fmla="*/ 704850 w 8373794"/>
                <a:gd name="connsiteY4" fmla="*/ 1409700 h 4891005"/>
                <a:gd name="connsiteX5" fmla="*/ 885825 w 8373794"/>
                <a:gd name="connsiteY5" fmla="*/ 1514475 h 4891005"/>
                <a:gd name="connsiteX6" fmla="*/ 1409700 w 8373794"/>
                <a:gd name="connsiteY6" fmla="*/ 1362075 h 4891005"/>
                <a:gd name="connsiteX7" fmla="*/ 1924050 w 8373794"/>
                <a:gd name="connsiteY7" fmla="*/ 1581150 h 4891005"/>
                <a:gd name="connsiteX8" fmla="*/ 3190875 w 8373794"/>
                <a:gd name="connsiteY8" fmla="*/ 1171575 h 4891005"/>
                <a:gd name="connsiteX9" fmla="*/ 6000007 w 8373794"/>
                <a:gd name="connsiteY9" fmla="*/ 2036606 h 4891005"/>
                <a:gd name="connsiteX10" fmla="*/ 6176792 w 8373794"/>
                <a:gd name="connsiteY10" fmla="*/ 3844026 h 4891005"/>
                <a:gd name="connsiteX11" fmla="*/ 6274438 w 8373794"/>
                <a:gd name="connsiteY11" fmla="*/ 4891005 h 4891005"/>
                <a:gd name="connsiteX12" fmla="*/ 7377822 w 8373794"/>
                <a:gd name="connsiteY12" fmla="*/ 4606503 h 4891005"/>
                <a:gd name="connsiteX13" fmla="*/ 8178506 w 8373794"/>
                <a:gd name="connsiteY13" fmla="*/ 4117156 h 4891005"/>
                <a:gd name="connsiteX14" fmla="*/ 8373794 w 8373794"/>
                <a:gd name="connsiteY14" fmla="*/ 3707469 h 4891005"/>
                <a:gd name="connsiteX15" fmla="*/ 8178508 w 8373794"/>
                <a:gd name="connsiteY15" fmla="*/ 2967758 h 4891005"/>
                <a:gd name="connsiteX16" fmla="*/ 7025458 w 8373794"/>
                <a:gd name="connsiteY16" fmla="*/ 2164752 h 4891005"/>
                <a:gd name="connsiteX17" fmla="*/ 1009650 w 8373794"/>
                <a:gd name="connsiteY17" fmla="*/ 209550 h 4891005"/>
                <a:gd name="connsiteX18" fmla="*/ 76200 w 8373794"/>
                <a:gd name="connsiteY18" fmla="*/ 0 h 4891005"/>
                <a:gd name="connsiteX19" fmla="*/ 0 w 8373794"/>
                <a:gd name="connsiteY19" fmla="*/ 38100 h 4891005"/>
                <a:gd name="connsiteX0" fmla="*/ 0 w 8373794"/>
                <a:gd name="connsiteY0" fmla="*/ 38100 h 4891005"/>
                <a:gd name="connsiteX1" fmla="*/ 704850 w 8373794"/>
                <a:gd name="connsiteY1" fmla="*/ 238125 h 4891005"/>
                <a:gd name="connsiteX2" fmla="*/ 504825 w 8373794"/>
                <a:gd name="connsiteY2" fmla="*/ 295275 h 4891005"/>
                <a:gd name="connsiteX3" fmla="*/ 2381250 w 8373794"/>
                <a:gd name="connsiteY3" fmla="*/ 952500 h 4891005"/>
                <a:gd name="connsiteX4" fmla="*/ 704850 w 8373794"/>
                <a:gd name="connsiteY4" fmla="*/ 1409700 h 4891005"/>
                <a:gd name="connsiteX5" fmla="*/ 885825 w 8373794"/>
                <a:gd name="connsiteY5" fmla="*/ 1514475 h 4891005"/>
                <a:gd name="connsiteX6" fmla="*/ 1409700 w 8373794"/>
                <a:gd name="connsiteY6" fmla="*/ 1362075 h 4891005"/>
                <a:gd name="connsiteX7" fmla="*/ 1924050 w 8373794"/>
                <a:gd name="connsiteY7" fmla="*/ 1581150 h 4891005"/>
                <a:gd name="connsiteX8" fmla="*/ 3190875 w 8373794"/>
                <a:gd name="connsiteY8" fmla="*/ 1171575 h 4891005"/>
                <a:gd name="connsiteX9" fmla="*/ 6000007 w 8373794"/>
                <a:gd name="connsiteY9" fmla="*/ 2036606 h 4891005"/>
                <a:gd name="connsiteX10" fmla="*/ 4673068 w 8373794"/>
                <a:gd name="connsiteY10" fmla="*/ 4868241 h 4891005"/>
                <a:gd name="connsiteX11" fmla="*/ 6274438 w 8373794"/>
                <a:gd name="connsiteY11" fmla="*/ 4891005 h 4891005"/>
                <a:gd name="connsiteX12" fmla="*/ 7377822 w 8373794"/>
                <a:gd name="connsiteY12" fmla="*/ 4606503 h 4891005"/>
                <a:gd name="connsiteX13" fmla="*/ 8178506 w 8373794"/>
                <a:gd name="connsiteY13" fmla="*/ 4117156 h 4891005"/>
                <a:gd name="connsiteX14" fmla="*/ 8373794 w 8373794"/>
                <a:gd name="connsiteY14" fmla="*/ 3707469 h 4891005"/>
                <a:gd name="connsiteX15" fmla="*/ 8178508 w 8373794"/>
                <a:gd name="connsiteY15" fmla="*/ 2967758 h 4891005"/>
                <a:gd name="connsiteX16" fmla="*/ 7025458 w 8373794"/>
                <a:gd name="connsiteY16" fmla="*/ 2164752 h 4891005"/>
                <a:gd name="connsiteX17" fmla="*/ 1009650 w 8373794"/>
                <a:gd name="connsiteY17" fmla="*/ 209550 h 4891005"/>
                <a:gd name="connsiteX18" fmla="*/ 76200 w 8373794"/>
                <a:gd name="connsiteY18" fmla="*/ 0 h 4891005"/>
                <a:gd name="connsiteX19" fmla="*/ 0 w 8373794"/>
                <a:gd name="connsiteY19" fmla="*/ 38100 h 4891005"/>
                <a:gd name="connsiteX0" fmla="*/ 0 w 8373794"/>
                <a:gd name="connsiteY0" fmla="*/ 38100 h 4891005"/>
                <a:gd name="connsiteX1" fmla="*/ 704850 w 8373794"/>
                <a:gd name="connsiteY1" fmla="*/ 238125 h 4891005"/>
                <a:gd name="connsiteX2" fmla="*/ 504825 w 8373794"/>
                <a:gd name="connsiteY2" fmla="*/ 295275 h 4891005"/>
                <a:gd name="connsiteX3" fmla="*/ 2381250 w 8373794"/>
                <a:gd name="connsiteY3" fmla="*/ 952500 h 4891005"/>
                <a:gd name="connsiteX4" fmla="*/ 704850 w 8373794"/>
                <a:gd name="connsiteY4" fmla="*/ 1409700 h 4891005"/>
                <a:gd name="connsiteX5" fmla="*/ 885825 w 8373794"/>
                <a:gd name="connsiteY5" fmla="*/ 1514475 h 4891005"/>
                <a:gd name="connsiteX6" fmla="*/ 1409700 w 8373794"/>
                <a:gd name="connsiteY6" fmla="*/ 1362075 h 4891005"/>
                <a:gd name="connsiteX7" fmla="*/ 1924050 w 8373794"/>
                <a:gd name="connsiteY7" fmla="*/ 1581150 h 4891005"/>
                <a:gd name="connsiteX8" fmla="*/ 3190875 w 8373794"/>
                <a:gd name="connsiteY8" fmla="*/ 1171575 h 4891005"/>
                <a:gd name="connsiteX9" fmla="*/ 6000007 w 8373794"/>
                <a:gd name="connsiteY9" fmla="*/ 2036606 h 4891005"/>
                <a:gd name="connsiteX10" fmla="*/ 5424931 w 8373794"/>
                <a:gd name="connsiteY10" fmla="*/ 3286396 h 4891005"/>
                <a:gd name="connsiteX11" fmla="*/ 4673068 w 8373794"/>
                <a:gd name="connsiteY11" fmla="*/ 4868241 h 4891005"/>
                <a:gd name="connsiteX12" fmla="*/ 6274438 w 8373794"/>
                <a:gd name="connsiteY12" fmla="*/ 4891005 h 4891005"/>
                <a:gd name="connsiteX13" fmla="*/ 7377822 w 8373794"/>
                <a:gd name="connsiteY13" fmla="*/ 4606503 h 4891005"/>
                <a:gd name="connsiteX14" fmla="*/ 8178506 w 8373794"/>
                <a:gd name="connsiteY14" fmla="*/ 4117156 h 4891005"/>
                <a:gd name="connsiteX15" fmla="*/ 8373794 w 8373794"/>
                <a:gd name="connsiteY15" fmla="*/ 3707469 h 4891005"/>
                <a:gd name="connsiteX16" fmla="*/ 8178508 w 8373794"/>
                <a:gd name="connsiteY16" fmla="*/ 2967758 h 4891005"/>
                <a:gd name="connsiteX17" fmla="*/ 7025458 w 8373794"/>
                <a:gd name="connsiteY17" fmla="*/ 2164752 h 4891005"/>
                <a:gd name="connsiteX18" fmla="*/ 1009650 w 8373794"/>
                <a:gd name="connsiteY18" fmla="*/ 209550 h 4891005"/>
                <a:gd name="connsiteX19" fmla="*/ 76200 w 8373794"/>
                <a:gd name="connsiteY19" fmla="*/ 0 h 4891005"/>
                <a:gd name="connsiteX20" fmla="*/ 0 w 8373794"/>
                <a:gd name="connsiteY20" fmla="*/ 38100 h 4891005"/>
                <a:gd name="connsiteX0" fmla="*/ 0 w 8373794"/>
                <a:gd name="connsiteY0" fmla="*/ 38100 h 4891005"/>
                <a:gd name="connsiteX1" fmla="*/ 704850 w 8373794"/>
                <a:gd name="connsiteY1" fmla="*/ 238125 h 4891005"/>
                <a:gd name="connsiteX2" fmla="*/ 504825 w 8373794"/>
                <a:gd name="connsiteY2" fmla="*/ 295275 h 4891005"/>
                <a:gd name="connsiteX3" fmla="*/ 2381250 w 8373794"/>
                <a:gd name="connsiteY3" fmla="*/ 952500 h 4891005"/>
                <a:gd name="connsiteX4" fmla="*/ 704850 w 8373794"/>
                <a:gd name="connsiteY4" fmla="*/ 1409700 h 4891005"/>
                <a:gd name="connsiteX5" fmla="*/ 885825 w 8373794"/>
                <a:gd name="connsiteY5" fmla="*/ 1514475 h 4891005"/>
                <a:gd name="connsiteX6" fmla="*/ 1409700 w 8373794"/>
                <a:gd name="connsiteY6" fmla="*/ 1362075 h 4891005"/>
                <a:gd name="connsiteX7" fmla="*/ 1924050 w 8373794"/>
                <a:gd name="connsiteY7" fmla="*/ 1581150 h 4891005"/>
                <a:gd name="connsiteX8" fmla="*/ 3190875 w 8373794"/>
                <a:gd name="connsiteY8" fmla="*/ 1171575 h 4891005"/>
                <a:gd name="connsiteX9" fmla="*/ 6000007 w 8373794"/>
                <a:gd name="connsiteY9" fmla="*/ 2036606 h 4891005"/>
                <a:gd name="connsiteX10" fmla="*/ 2964291 w 8373794"/>
                <a:gd name="connsiteY10" fmla="*/ 4356136 h 4891005"/>
                <a:gd name="connsiteX11" fmla="*/ 4673068 w 8373794"/>
                <a:gd name="connsiteY11" fmla="*/ 4868241 h 4891005"/>
                <a:gd name="connsiteX12" fmla="*/ 6274438 w 8373794"/>
                <a:gd name="connsiteY12" fmla="*/ 4891005 h 4891005"/>
                <a:gd name="connsiteX13" fmla="*/ 7377822 w 8373794"/>
                <a:gd name="connsiteY13" fmla="*/ 4606503 h 4891005"/>
                <a:gd name="connsiteX14" fmla="*/ 8178506 w 8373794"/>
                <a:gd name="connsiteY14" fmla="*/ 4117156 h 4891005"/>
                <a:gd name="connsiteX15" fmla="*/ 8373794 w 8373794"/>
                <a:gd name="connsiteY15" fmla="*/ 3707469 h 4891005"/>
                <a:gd name="connsiteX16" fmla="*/ 8178508 w 8373794"/>
                <a:gd name="connsiteY16" fmla="*/ 2967758 h 4891005"/>
                <a:gd name="connsiteX17" fmla="*/ 7025458 w 8373794"/>
                <a:gd name="connsiteY17" fmla="*/ 2164752 h 4891005"/>
                <a:gd name="connsiteX18" fmla="*/ 1009650 w 8373794"/>
                <a:gd name="connsiteY18" fmla="*/ 209550 h 4891005"/>
                <a:gd name="connsiteX19" fmla="*/ 76200 w 8373794"/>
                <a:gd name="connsiteY19" fmla="*/ 0 h 4891005"/>
                <a:gd name="connsiteX20" fmla="*/ 0 w 8373794"/>
                <a:gd name="connsiteY20" fmla="*/ 38100 h 4891005"/>
                <a:gd name="connsiteX0" fmla="*/ 0 w 8373794"/>
                <a:gd name="connsiteY0" fmla="*/ 38100 h 4891005"/>
                <a:gd name="connsiteX1" fmla="*/ 704850 w 8373794"/>
                <a:gd name="connsiteY1" fmla="*/ 238125 h 4891005"/>
                <a:gd name="connsiteX2" fmla="*/ 504825 w 8373794"/>
                <a:gd name="connsiteY2" fmla="*/ 295275 h 4891005"/>
                <a:gd name="connsiteX3" fmla="*/ 2381250 w 8373794"/>
                <a:gd name="connsiteY3" fmla="*/ 952500 h 4891005"/>
                <a:gd name="connsiteX4" fmla="*/ 704850 w 8373794"/>
                <a:gd name="connsiteY4" fmla="*/ 1409700 h 4891005"/>
                <a:gd name="connsiteX5" fmla="*/ 885825 w 8373794"/>
                <a:gd name="connsiteY5" fmla="*/ 1514475 h 4891005"/>
                <a:gd name="connsiteX6" fmla="*/ 1409700 w 8373794"/>
                <a:gd name="connsiteY6" fmla="*/ 1362075 h 4891005"/>
                <a:gd name="connsiteX7" fmla="*/ 1924050 w 8373794"/>
                <a:gd name="connsiteY7" fmla="*/ 1581150 h 4891005"/>
                <a:gd name="connsiteX8" fmla="*/ 3190875 w 8373794"/>
                <a:gd name="connsiteY8" fmla="*/ 1171575 h 4891005"/>
                <a:gd name="connsiteX9" fmla="*/ 6000007 w 8373794"/>
                <a:gd name="connsiteY9" fmla="*/ 2036606 h 4891005"/>
                <a:gd name="connsiteX10" fmla="*/ 4067672 w 8373794"/>
                <a:gd name="connsiteY10" fmla="*/ 3491241 h 4891005"/>
                <a:gd name="connsiteX11" fmla="*/ 2964291 w 8373794"/>
                <a:gd name="connsiteY11" fmla="*/ 4356136 h 4891005"/>
                <a:gd name="connsiteX12" fmla="*/ 4673068 w 8373794"/>
                <a:gd name="connsiteY12" fmla="*/ 4868241 h 4891005"/>
                <a:gd name="connsiteX13" fmla="*/ 6274438 w 8373794"/>
                <a:gd name="connsiteY13" fmla="*/ 4891005 h 4891005"/>
                <a:gd name="connsiteX14" fmla="*/ 7377822 w 8373794"/>
                <a:gd name="connsiteY14" fmla="*/ 4606503 h 4891005"/>
                <a:gd name="connsiteX15" fmla="*/ 8178506 w 8373794"/>
                <a:gd name="connsiteY15" fmla="*/ 4117156 h 4891005"/>
                <a:gd name="connsiteX16" fmla="*/ 8373794 w 8373794"/>
                <a:gd name="connsiteY16" fmla="*/ 3707469 h 4891005"/>
                <a:gd name="connsiteX17" fmla="*/ 8178508 w 8373794"/>
                <a:gd name="connsiteY17" fmla="*/ 2967758 h 4891005"/>
                <a:gd name="connsiteX18" fmla="*/ 7025458 w 8373794"/>
                <a:gd name="connsiteY18" fmla="*/ 2164752 h 4891005"/>
                <a:gd name="connsiteX19" fmla="*/ 1009650 w 8373794"/>
                <a:gd name="connsiteY19" fmla="*/ 209550 h 4891005"/>
                <a:gd name="connsiteX20" fmla="*/ 76200 w 8373794"/>
                <a:gd name="connsiteY20" fmla="*/ 0 h 4891005"/>
                <a:gd name="connsiteX21" fmla="*/ 0 w 8373794"/>
                <a:gd name="connsiteY21" fmla="*/ 38100 h 4891005"/>
                <a:gd name="connsiteX0" fmla="*/ 0 w 8373794"/>
                <a:gd name="connsiteY0" fmla="*/ 38100 h 4891005"/>
                <a:gd name="connsiteX1" fmla="*/ 704850 w 8373794"/>
                <a:gd name="connsiteY1" fmla="*/ 238125 h 4891005"/>
                <a:gd name="connsiteX2" fmla="*/ 504825 w 8373794"/>
                <a:gd name="connsiteY2" fmla="*/ 295275 h 4891005"/>
                <a:gd name="connsiteX3" fmla="*/ 2381250 w 8373794"/>
                <a:gd name="connsiteY3" fmla="*/ 952500 h 4891005"/>
                <a:gd name="connsiteX4" fmla="*/ 704850 w 8373794"/>
                <a:gd name="connsiteY4" fmla="*/ 1409700 h 4891005"/>
                <a:gd name="connsiteX5" fmla="*/ 885825 w 8373794"/>
                <a:gd name="connsiteY5" fmla="*/ 1514475 h 4891005"/>
                <a:gd name="connsiteX6" fmla="*/ 1409700 w 8373794"/>
                <a:gd name="connsiteY6" fmla="*/ 1362075 h 4891005"/>
                <a:gd name="connsiteX7" fmla="*/ 1924050 w 8373794"/>
                <a:gd name="connsiteY7" fmla="*/ 1581150 h 4891005"/>
                <a:gd name="connsiteX8" fmla="*/ 3190875 w 8373794"/>
                <a:gd name="connsiteY8" fmla="*/ 1171575 h 4891005"/>
                <a:gd name="connsiteX9" fmla="*/ 6000007 w 8373794"/>
                <a:gd name="connsiteY9" fmla="*/ 2036606 h 4891005"/>
                <a:gd name="connsiteX10" fmla="*/ 1773026 w 8373794"/>
                <a:gd name="connsiteY10" fmla="*/ 3730224 h 4891005"/>
                <a:gd name="connsiteX11" fmla="*/ 2964291 w 8373794"/>
                <a:gd name="connsiteY11" fmla="*/ 4356136 h 4891005"/>
                <a:gd name="connsiteX12" fmla="*/ 4673068 w 8373794"/>
                <a:gd name="connsiteY12" fmla="*/ 4868241 h 4891005"/>
                <a:gd name="connsiteX13" fmla="*/ 6274438 w 8373794"/>
                <a:gd name="connsiteY13" fmla="*/ 4891005 h 4891005"/>
                <a:gd name="connsiteX14" fmla="*/ 7377822 w 8373794"/>
                <a:gd name="connsiteY14" fmla="*/ 4606503 h 4891005"/>
                <a:gd name="connsiteX15" fmla="*/ 8178506 w 8373794"/>
                <a:gd name="connsiteY15" fmla="*/ 4117156 h 4891005"/>
                <a:gd name="connsiteX16" fmla="*/ 8373794 w 8373794"/>
                <a:gd name="connsiteY16" fmla="*/ 3707469 h 4891005"/>
                <a:gd name="connsiteX17" fmla="*/ 8178508 w 8373794"/>
                <a:gd name="connsiteY17" fmla="*/ 2967758 h 4891005"/>
                <a:gd name="connsiteX18" fmla="*/ 7025458 w 8373794"/>
                <a:gd name="connsiteY18" fmla="*/ 2164752 h 4891005"/>
                <a:gd name="connsiteX19" fmla="*/ 1009650 w 8373794"/>
                <a:gd name="connsiteY19" fmla="*/ 209550 h 4891005"/>
                <a:gd name="connsiteX20" fmla="*/ 76200 w 8373794"/>
                <a:gd name="connsiteY20" fmla="*/ 0 h 4891005"/>
                <a:gd name="connsiteX21" fmla="*/ 0 w 8373794"/>
                <a:gd name="connsiteY21" fmla="*/ 38100 h 4891005"/>
                <a:gd name="connsiteX0" fmla="*/ 0 w 8373794"/>
                <a:gd name="connsiteY0" fmla="*/ 38100 h 4891005"/>
                <a:gd name="connsiteX1" fmla="*/ 704850 w 8373794"/>
                <a:gd name="connsiteY1" fmla="*/ 238125 h 4891005"/>
                <a:gd name="connsiteX2" fmla="*/ 504825 w 8373794"/>
                <a:gd name="connsiteY2" fmla="*/ 295275 h 4891005"/>
                <a:gd name="connsiteX3" fmla="*/ 2381250 w 8373794"/>
                <a:gd name="connsiteY3" fmla="*/ 952500 h 4891005"/>
                <a:gd name="connsiteX4" fmla="*/ 704850 w 8373794"/>
                <a:gd name="connsiteY4" fmla="*/ 1409700 h 4891005"/>
                <a:gd name="connsiteX5" fmla="*/ 885825 w 8373794"/>
                <a:gd name="connsiteY5" fmla="*/ 1514475 h 4891005"/>
                <a:gd name="connsiteX6" fmla="*/ 1409700 w 8373794"/>
                <a:gd name="connsiteY6" fmla="*/ 1362075 h 4891005"/>
                <a:gd name="connsiteX7" fmla="*/ 1924050 w 8373794"/>
                <a:gd name="connsiteY7" fmla="*/ 1581150 h 4891005"/>
                <a:gd name="connsiteX8" fmla="*/ 3190875 w 8373794"/>
                <a:gd name="connsiteY8" fmla="*/ 1171575 h 4891005"/>
                <a:gd name="connsiteX9" fmla="*/ 6000007 w 8373794"/>
                <a:gd name="connsiteY9" fmla="*/ 2036606 h 4891005"/>
                <a:gd name="connsiteX10" fmla="*/ 2261249 w 8373794"/>
                <a:gd name="connsiteY10" fmla="*/ 3525382 h 4891005"/>
                <a:gd name="connsiteX11" fmla="*/ 1773026 w 8373794"/>
                <a:gd name="connsiteY11" fmla="*/ 3730224 h 4891005"/>
                <a:gd name="connsiteX12" fmla="*/ 2964291 w 8373794"/>
                <a:gd name="connsiteY12" fmla="*/ 4356136 h 4891005"/>
                <a:gd name="connsiteX13" fmla="*/ 4673068 w 8373794"/>
                <a:gd name="connsiteY13" fmla="*/ 4868241 h 4891005"/>
                <a:gd name="connsiteX14" fmla="*/ 6274438 w 8373794"/>
                <a:gd name="connsiteY14" fmla="*/ 4891005 h 4891005"/>
                <a:gd name="connsiteX15" fmla="*/ 7377822 w 8373794"/>
                <a:gd name="connsiteY15" fmla="*/ 4606503 h 4891005"/>
                <a:gd name="connsiteX16" fmla="*/ 8178506 w 8373794"/>
                <a:gd name="connsiteY16" fmla="*/ 4117156 h 4891005"/>
                <a:gd name="connsiteX17" fmla="*/ 8373794 w 8373794"/>
                <a:gd name="connsiteY17" fmla="*/ 3707469 h 4891005"/>
                <a:gd name="connsiteX18" fmla="*/ 8178508 w 8373794"/>
                <a:gd name="connsiteY18" fmla="*/ 2967758 h 4891005"/>
                <a:gd name="connsiteX19" fmla="*/ 7025458 w 8373794"/>
                <a:gd name="connsiteY19" fmla="*/ 2164752 h 4891005"/>
                <a:gd name="connsiteX20" fmla="*/ 1009650 w 8373794"/>
                <a:gd name="connsiteY20" fmla="*/ 209550 h 4891005"/>
                <a:gd name="connsiteX21" fmla="*/ 76200 w 8373794"/>
                <a:gd name="connsiteY21" fmla="*/ 0 h 4891005"/>
                <a:gd name="connsiteX22" fmla="*/ 0 w 8373794"/>
                <a:gd name="connsiteY22" fmla="*/ 38100 h 4891005"/>
                <a:gd name="connsiteX0" fmla="*/ 1361363 w 9735157"/>
                <a:gd name="connsiteY0" fmla="*/ 38100 h 4891005"/>
                <a:gd name="connsiteX1" fmla="*/ 2066213 w 9735157"/>
                <a:gd name="connsiteY1" fmla="*/ 238125 h 4891005"/>
                <a:gd name="connsiteX2" fmla="*/ 1866188 w 9735157"/>
                <a:gd name="connsiteY2" fmla="*/ 295275 h 4891005"/>
                <a:gd name="connsiteX3" fmla="*/ 3742613 w 9735157"/>
                <a:gd name="connsiteY3" fmla="*/ 952500 h 4891005"/>
                <a:gd name="connsiteX4" fmla="*/ 2066213 w 9735157"/>
                <a:gd name="connsiteY4" fmla="*/ 1409700 h 4891005"/>
                <a:gd name="connsiteX5" fmla="*/ 2247188 w 9735157"/>
                <a:gd name="connsiteY5" fmla="*/ 1514475 h 4891005"/>
                <a:gd name="connsiteX6" fmla="*/ 2771063 w 9735157"/>
                <a:gd name="connsiteY6" fmla="*/ 1362075 h 4891005"/>
                <a:gd name="connsiteX7" fmla="*/ 3285413 w 9735157"/>
                <a:gd name="connsiteY7" fmla="*/ 1581150 h 4891005"/>
                <a:gd name="connsiteX8" fmla="*/ 4552238 w 9735157"/>
                <a:gd name="connsiteY8" fmla="*/ 1171575 h 4891005"/>
                <a:gd name="connsiteX9" fmla="*/ 7361370 w 9735157"/>
                <a:gd name="connsiteY9" fmla="*/ 2036606 h 4891005"/>
                <a:gd name="connsiteX10" fmla="*/ 0 w 9735157"/>
                <a:gd name="connsiteY10" fmla="*/ 1363144 h 4891005"/>
                <a:gd name="connsiteX11" fmla="*/ 3134389 w 9735157"/>
                <a:gd name="connsiteY11" fmla="*/ 3730224 h 4891005"/>
                <a:gd name="connsiteX12" fmla="*/ 4325654 w 9735157"/>
                <a:gd name="connsiteY12" fmla="*/ 4356136 h 4891005"/>
                <a:gd name="connsiteX13" fmla="*/ 6034431 w 9735157"/>
                <a:gd name="connsiteY13" fmla="*/ 4868241 h 4891005"/>
                <a:gd name="connsiteX14" fmla="*/ 7635801 w 9735157"/>
                <a:gd name="connsiteY14" fmla="*/ 4891005 h 4891005"/>
                <a:gd name="connsiteX15" fmla="*/ 8739185 w 9735157"/>
                <a:gd name="connsiteY15" fmla="*/ 4606503 h 4891005"/>
                <a:gd name="connsiteX16" fmla="*/ 9539869 w 9735157"/>
                <a:gd name="connsiteY16" fmla="*/ 4117156 h 4891005"/>
                <a:gd name="connsiteX17" fmla="*/ 9735157 w 9735157"/>
                <a:gd name="connsiteY17" fmla="*/ 3707469 h 4891005"/>
                <a:gd name="connsiteX18" fmla="*/ 9539871 w 9735157"/>
                <a:gd name="connsiteY18" fmla="*/ 2967758 h 4891005"/>
                <a:gd name="connsiteX19" fmla="*/ 8386821 w 9735157"/>
                <a:gd name="connsiteY19" fmla="*/ 2164752 h 4891005"/>
                <a:gd name="connsiteX20" fmla="*/ 2371013 w 9735157"/>
                <a:gd name="connsiteY20" fmla="*/ 209550 h 4891005"/>
                <a:gd name="connsiteX21" fmla="*/ 1437563 w 9735157"/>
                <a:gd name="connsiteY21" fmla="*/ 0 h 4891005"/>
                <a:gd name="connsiteX22" fmla="*/ 1361363 w 9735157"/>
                <a:gd name="connsiteY22" fmla="*/ 38100 h 4891005"/>
                <a:gd name="connsiteX0" fmla="*/ 1361363 w 9735157"/>
                <a:gd name="connsiteY0" fmla="*/ 38100 h 4891005"/>
                <a:gd name="connsiteX1" fmla="*/ 2066213 w 9735157"/>
                <a:gd name="connsiteY1" fmla="*/ 238125 h 4891005"/>
                <a:gd name="connsiteX2" fmla="*/ 1866188 w 9735157"/>
                <a:gd name="connsiteY2" fmla="*/ 295275 h 4891005"/>
                <a:gd name="connsiteX3" fmla="*/ 3742613 w 9735157"/>
                <a:gd name="connsiteY3" fmla="*/ 952500 h 4891005"/>
                <a:gd name="connsiteX4" fmla="*/ 2066213 w 9735157"/>
                <a:gd name="connsiteY4" fmla="*/ 1409700 h 4891005"/>
                <a:gd name="connsiteX5" fmla="*/ 2247188 w 9735157"/>
                <a:gd name="connsiteY5" fmla="*/ 1514475 h 4891005"/>
                <a:gd name="connsiteX6" fmla="*/ 2771063 w 9735157"/>
                <a:gd name="connsiteY6" fmla="*/ 1362075 h 4891005"/>
                <a:gd name="connsiteX7" fmla="*/ 3285413 w 9735157"/>
                <a:gd name="connsiteY7" fmla="*/ 1581150 h 4891005"/>
                <a:gd name="connsiteX8" fmla="*/ 4552238 w 9735157"/>
                <a:gd name="connsiteY8" fmla="*/ 1171575 h 4891005"/>
                <a:gd name="connsiteX9" fmla="*/ 7361370 w 9735157"/>
                <a:gd name="connsiteY9" fmla="*/ 2036606 h 4891005"/>
                <a:gd name="connsiteX10" fmla="*/ 1083854 w 9735157"/>
                <a:gd name="connsiteY10" fmla="*/ 1454188 h 4891005"/>
                <a:gd name="connsiteX11" fmla="*/ 0 w 9735157"/>
                <a:gd name="connsiteY11" fmla="*/ 1363144 h 4891005"/>
                <a:gd name="connsiteX12" fmla="*/ 3134389 w 9735157"/>
                <a:gd name="connsiteY12" fmla="*/ 3730224 h 4891005"/>
                <a:gd name="connsiteX13" fmla="*/ 4325654 w 9735157"/>
                <a:gd name="connsiteY13" fmla="*/ 4356136 h 4891005"/>
                <a:gd name="connsiteX14" fmla="*/ 6034431 w 9735157"/>
                <a:gd name="connsiteY14" fmla="*/ 4868241 h 4891005"/>
                <a:gd name="connsiteX15" fmla="*/ 7635801 w 9735157"/>
                <a:gd name="connsiteY15" fmla="*/ 4891005 h 4891005"/>
                <a:gd name="connsiteX16" fmla="*/ 8739185 w 9735157"/>
                <a:gd name="connsiteY16" fmla="*/ 4606503 h 4891005"/>
                <a:gd name="connsiteX17" fmla="*/ 9539869 w 9735157"/>
                <a:gd name="connsiteY17" fmla="*/ 4117156 h 4891005"/>
                <a:gd name="connsiteX18" fmla="*/ 9735157 w 9735157"/>
                <a:gd name="connsiteY18" fmla="*/ 3707469 h 4891005"/>
                <a:gd name="connsiteX19" fmla="*/ 9539871 w 9735157"/>
                <a:gd name="connsiteY19" fmla="*/ 2967758 h 4891005"/>
                <a:gd name="connsiteX20" fmla="*/ 8386821 w 9735157"/>
                <a:gd name="connsiteY20" fmla="*/ 2164752 h 4891005"/>
                <a:gd name="connsiteX21" fmla="*/ 2371013 w 9735157"/>
                <a:gd name="connsiteY21" fmla="*/ 209550 h 4891005"/>
                <a:gd name="connsiteX22" fmla="*/ 1437563 w 9735157"/>
                <a:gd name="connsiteY22" fmla="*/ 0 h 4891005"/>
                <a:gd name="connsiteX23" fmla="*/ 1361363 w 9735157"/>
                <a:gd name="connsiteY23" fmla="*/ 38100 h 4891005"/>
                <a:gd name="connsiteX0" fmla="*/ 1390657 w 9764451"/>
                <a:gd name="connsiteY0" fmla="*/ 38100 h 4891005"/>
                <a:gd name="connsiteX1" fmla="*/ 2095507 w 9764451"/>
                <a:gd name="connsiteY1" fmla="*/ 238125 h 4891005"/>
                <a:gd name="connsiteX2" fmla="*/ 1895482 w 9764451"/>
                <a:gd name="connsiteY2" fmla="*/ 295275 h 4891005"/>
                <a:gd name="connsiteX3" fmla="*/ 3771907 w 9764451"/>
                <a:gd name="connsiteY3" fmla="*/ 952500 h 4891005"/>
                <a:gd name="connsiteX4" fmla="*/ 2095507 w 9764451"/>
                <a:gd name="connsiteY4" fmla="*/ 1409700 h 4891005"/>
                <a:gd name="connsiteX5" fmla="*/ 2276482 w 9764451"/>
                <a:gd name="connsiteY5" fmla="*/ 1514475 h 4891005"/>
                <a:gd name="connsiteX6" fmla="*/ 2800357 w 9764451"/>
                <a:gd name="connsiteY6" fmla="*/ 1362075 h 4891005"/>
                <a:gd name="connsiteX7" fmla="*/ 3314707 w 9764451"/>
                <a:gd name="connsiteY7" fmla="*/ 1581150 h 4891005"/>
                <a:gd name="connsiteX8" fmla="*/ 4581532 w 9764451"/>
                <a:gd name="connsiteY8" fmla="*/ 1171575 h 4891005"/>
                <a:gd name="connsiteX9" fmla="*/ 7390664 w 9764451"/>
                <a:gd name="connsiteY9" fmla="*/ 2036606 h 4891005"/>
                <a:gd name="connsiteX10" fmla="*/ 0 w 9764451"/>
                <a:gd name="connsiteY10" fmla="*/ 805515 h 4891005"/>
                <a:gd name="connsiteX11" fmla="*/ 29294 w 9764451"/>
                <a:gd name="connsiteY11" fmla="*/ 1363144 h 4891005"/>
                <a:gd name="connsiteX12" fmla="*/ 3163683 w 9764451"/>
                <a:gd name="connsiteY12" fmla="*/ 3730224 h 4891005"/>
                <a:gd name="connsiteX13" fmla="*/ 4354948 w 9764451"/>
                <a:gd name="connsiteY13" fmla="*/ 4356136 h 4891005"/>
                <a:gd name="connsiteX14" fmla="*/ 6063725 w 9764451"/>
                <a:gd name="connsiteY14" fmla="*/ 4868241 h 4891005"/>
                <a:gd name="connsiteX15" fmla="*/ 7665095 w 9764451"/>
                <a:gd name="connsiteY15" fmla="*/ 4891005 h 4891005"/>
                <a:gd name="connsiteX16" fmla="*/ 8768479 w 9764451"/>
                <a:gd name="connsiteY16" fmla="*/ 4606503 h 4891005"/>
                <a:gd name="connsiteX17" fmla="*/ 9569163 w 9764451"/>
                <a:gd name="connsiteY17" fmla="*/ 4117156 h 4891005"/>
                <a:gd name="connsiteX18" fmla="*/ 9764451 w 9764451"/>
                <a:gd name="connsiteY18" fmla="*/ 3707469 h 4891005"/>
                <a:gd name="connsiteX19" fmla="*/ 9569165 w 9764451"/>
                <a:gd name="connsiteY19" fmla="*/ 2967758 h 4891005"/>
                <a:gd name="connsiteX20" fmla="*/ 8416115 w 9764451"/>
                <a:gd name="connsiteY20" fmla="*/ 2164752 h 4891005"/>
                <a:gd name="connsiteX21" fmla="*/ 2400307 w 9764451"/>
                <a:gd name="connsiteY21" fmla="*/ 209550 h 4891005"/>
                <a:gd name="connsiteX22" fmla="*/ 1466857 w 9764451"/>
                <a:gd name="connsiteY22" fmla="*/ 0 h 4891005"/>
                <a:gd name="connsiteX23" fmla="*/ 1390657 w 9764451"/>
                <a:gd name="connsiteY23" fmla="*/ 38100 h 4891005"/>
                <a:gd name="connsiteX0" fmla="*/ 1390657 w 9764451"/>
                <a:gd name="connsiteY0" fmla="*/ 38100 h 4891005"/>
                <a:gd name="connsiteX1" fmla="*/ 2095507 w 9764451"/>
                <a:gd name="connsiteY1" fmla="*/ 238125 h 4891005"/>
                <a:gd name="connsiteX2" fmla="*/ 1895482 w 9764451"/>
                <a:gd name="connsiteY2" fmla="*/ 295275 h 4891005"/>
                <a:gd name="connsiteX3" fmla="*/ 3771907 w 9764451"/>
                <a:gd name="connsiteY3" fmla="*/ 952500 h 4891005"/>
                <a:gd name="connsiteX4" fmla="*/ 2095507 w 9764451"/>
                <a:gd name="connsiteY4" fmla="*/ 1409700 h 4891005"/>
                <a:gd name="connsiteX5" fmla="*/ 2276482 w 9764451"/>
                <a:gd name="connsiteY5" fmla="*/ 1514475 h 4891005"/>
                <a:gd name="connsiteX6" fmla="*/ 2800357 w 9764451"/>
                <a:gd name="connsiteY6" fmla="*/ 1362075 h 4891005"/>
                <a:gd name="connsiteX7" fmla="*/ 3314707 w 9764451"/>
                <a:gd name="connsiteY7" fmla="*/ 1581150 h 4891005"/>
                <a:gd name="connsiteX8" fmla="*/ 4581532 w 9764451"/>
                <a:gd name="connsiteY8" fmla="*/ 1171575 h 4891005"/>
                <a:gd name="connsiteX9" fmla="*/ 7390664 w 9764451"/>
                <a:gd name="connsiteY9" fmla="*/ 2036606 h 4891005"/>
                <a:gd name="connsiteX10" fmla="*/ 1542785 w 9764451"/>
                <a:gd name="connsiteY10" fmla="*/ 1078639 h 4891005"/>
                <a:gd name="connsiteX11" fmla="*/ 0 w 9764451"/>
                <a:gd name="connsiteY11" fmla="*/ 805515 h 4891005"/>
                <a:gd name="connsiteX12" fmla="*/ 29294 w 9764451"/>
                <a:gd name="connsiteY12" fmla="*/ 1363144 h 4891005"/>
                <a:gd name="connsiteX13" fmla="*/ 3163683 w 9764451"/>
                <a:gd name="connsiteY13" fmla="*/ 3730224 h 4891005"/>
                <a:gd name="connsiteX14" fmla="*/ 4354948 w 9764451"/>
                <a:gd name="connsiteY14" fmla="*/ 4356136 h 4891005"/>
                <a:gd name="connsiteX15" fmla="*/ 6063725 w 9764451"/>
                <a:gd name="connsiteY15" fmla="*/ 4868241 h 4891005"/>
                <a:gd name="connsiteX16" fmla="*/ 7665095 w 9764451"/>
                <a:gd name="connsiteY16" fmla="*/ 4891005 h 4891005"/>
                <a:gd name="connsiteX17" fmla="*/ 8768479 w 9764451"/>
                <a:gd name="connsiteY17" fmla="*/ 4606503 h 4891005"/>
                <a:gd name="connsiteX18" fmla="*/ 9569163 w 9764451"/>
                <a:gd name="connsiteY18" fmla="*/ 4117156 h 4891005"/>
                <a:gd name="connsiteX19" fmla="*/ 9764451 w 9764451"/>
                <a:gd name="connsiteY19" fmla="*/ 3707469 h 4891005"/>
                <a:gd name="connsiteX20" fmla="*/ 9569165 w 9764451"/>
                <a:gd name="connsiteY20" fmla="*/ 2967758 h 4891005"/>
                <a:gd name="connsiteX21" fmla="*/ 8416115 w 9764451"/>
                <a:gd name="connsiteY21" fmla="*/ 2164752 h 4891005"/>
                <a:gd name="connsiteX22" fmla="*/ 2400307 w 9764451"/>
                <a:gd name="connsiteY22" fmla="*/ 209550 h 4891005"/>
                <a:gd name="connsiteX23" fmla="*/ 1466857 w 9764451"/>
                <a:gd name="connsiteY23" fmla="*/ 0 h 4891005"/>
                <a:gd name="connsiteX24" fmla="*/ 1390657 w 9764451"/>
                <a:gd name="connsiteY24" fmla="*/ 38100 h 4891005"/>
                <a:gd name="connsiteX0" fmla="*/ 1390657 w 9764451"/>
                <a:gd name="connsiteY0" fmla="*/ 38100 h 4891005"/>
                <a:gd name="connsiteX1" fmla="*/ 2095507 w 9764451"/>
                <a:gd name="connsiteY1" fmla="*/ 238125 h 4891005"/>
                <a:gd name="connsiteX2" fmla="*/ 1895482 w 9764451"/>
                <a:gd name="connsiteY2" fmla="*/ 295275 h 4891005"/>
                <a:gd name="connsiteX3" fmla="*/ 3771907 w 9764451"/>
                <a:gd name="connsiteY3" fmla="*/ 952500 h 4891005"/>
                <a:gd name="connsiteX4" fmla="*/ 2095507 w 9764451"/>
                <a:gd name="connsiteY4" fmla="*/ 1409700 h 4891005"/>
                <a:gd name="connsiteX5" fmla="*/ 2276482 w 9764451"/>
                <a:gd name="connsiteY5" fmla="*/ 1514475 h 4891005"/>
                <a:gd name="connsiteX6" fmla="*/ 2800357 w 9764451"/>
                <a:gd name="connsiteY6" fmla="*/ 1362075 h 4891005"/>
                <a:gd name="connsiteX7" fmla="*/ 3314707 w 9764451"/>
                <a:gd name="connsiteY7" fmla="*/ 1581150 h 4891005"/>
                <a:gd name="connsiteX8" fmla="*/ 4581532 w 9764451"/>
                <a:gd name="connsiteY8" fmla="*/ 1171575 h 4891005"/>
                <a:gd name="connsiteX9" fmla="*/ 7390664 w 9764451"/>
                <a:gd name="connsiteY9" fmla="*/ 2036606 h 4891005"/>
                <a:gd name="connsiteX10" fmla="*/ 3739787 w 9764451"/>
                <a:gd name="connsiteY10" fmla="*/ 3809885 h 4891005"/>
                <a:gd name="connsiteX11" fmla="*/ 0 w 9764451"/>
                <a:gd name="connsiteY11" fmla="*/ 805515 h 4891005"/>
                <a:gd name="connsiteX12" fmla="*/ 29294 w 9764451"/>
                <a:gd name="connsiteY12" fmla="*/ 1363144 h 4891005"/>
                <a:gd name="connsiteX13" fmla="*/ 3163683 w 9764451"/>
                <a:gd name="connsiteY13" fmla="*/ 3730224 h 4891005"/>
                <a:gd name="connsiteX14" fmla="*/ 4354948 w 9764451"/>
                <a:gd name="connsiteY14" fmla="*/ 4356136 h 4891005"/>
                <a:gd name="connsiteX15" fmla="*/ 6063725 w 9764451"/>
                <a:gd name="connsiteY15" fmla="*/ 4868241 h 4891005"/>
                <a:gd name="connsiteX16" fmla="*/ 7665095 w 9764451"/>
                <a:gd name="connsiteY16" fmla="*/ 4891005 h 4891005"/>
                <a:gd name="connsiteX17" fmla="*/ 8768479 w 9764451"/>
                <a:gd name="connsiteY17" fmla="*/ 4606503 h 4891005"/>
                <a:gd name="connsiteX18" fmla="*/ 9569163 w 9764451"/>
                <a:gd name="connsiteY18" fmla="*/ 4117156 h 4891005"/>
                <a:gd name="connsiteX19" fmla="*/ 9764451 w 9764451"/>
                <a:gd name="connsiteY19" fmla="*/ 3707469 h 4891005"/>
                <a:gd name="connsiteX20" fmla="*/ 9569165 w 9764451"/>
                <a:gd name="connsiteY20" fmla="*/ 2967758 h 4891005"/>
                <a:gd name="connsiteX21" fmla="*/ 8416115 w 9764451"/>
                <a:gd name="connsiteY21" fmla="*/ 2164752 h 4891005"/>
                <a:gd name="connsiteX22" fmla="*/ 2400307 w 9764451"/>
                <a:gd name="connsiteY22" fmla="*/ 209550 h 4891005"/>
                <a:gd name="connsiteX23" fmla="*/ 1466857 w 9764451"/>
                <a:gd name="connsiteY23" fmla="*/ 0 h 4891005"/>
                <a:gd name="connsiteX24" fmla="*/ 1390657 w 9764451"/>
                <a:gd name="connsiteY24" fmla="*/ 38100 h 4891005"/>
                <a:gd name="connsiteX0" fmla="*/ 1390657 w 9764451"/>
                <a:gd name="connsiteY0" fmla="*/ 38100 h 4891005"/>
                <a:gd name="connsiteX1" fmla="*/ 2095507 w 9764451"/>
                <a:gd name="connsiteY1" fmla="*/ 238125 h 4891005"/>
                <a:gd name="connsiteX2" fmla="*/ 1895482 w 9764451"/>
                <a:gd name="connsiteY2" fmla="*/ 295275 h 4891005"/>
                <a:gd name="connsiteX3" fmla="*/ 3771907 w 9764451"/>
                <a:gd name="connsiteY3" fmla="*/ 952500 h 4891005"/>
                <a:gd name="connsiteX4" fmla="*/ 2095507 w 9764451"/>
                <a:gd name="connsiteY4" fmla="*/ 1409700 h 4891005"/>
                <a:gd name="connsiteX5" fmla="*/ 2276482 w 9764451"/>
                <a:gd name="connsiteY5" fmla="*/ 1514475 h 4891005"/>
                <a:gd name="connsiteX6" fmla="*/ 2800357 w 9764451"/>
                <a:gd name="connsiteY6" fmla="*/ 1362075 h 4891005"/>
                <a:gd name="connsiteX7" fmla="*/ 3314707 w 9764451"/>
                <a:gd name="connsiteY7" fmla="*/ 1581150 h 4891005"/>
                <a:gd name="connsiteX8" fmla="*/ 4581532 w 9764451"/>
                <a:gd name="connsiteY8" fmla="*/ 1171575 h 4891005"/>
                <a:gd name="connsiteX9" fmla="*/ 7390664 w 9764451"/>
                <a:gd name="connsiteY9" fmla="*/ 2036606 h 4891005"/>
                <a:gd name="connsiteX10" fmla="*/ 4032722 w 9764451"/>
                <a:gd name="connsiteY10" fmla="*/ 3650564 h 4891005"/>
                <a:gd name="connsiteX11" fmla="*/ 3739787 w 9764451"/>
                <a:gd name="connsiteY11" fmla="*/ 3809885 h 4891005"/>
                <a:gd name="connsiteX12" fmla="*/ 0 w 9764451"/>
                <a:gd name="connsiteY12" fmla="*/ 805515 h 4891005"/>
                <a:gd name="connsiteX13" fmla="*/ 29294 w 9764451"/>
                <a:gd name="connsiteY13" fmla="*/ 1363144 h 4891005"/>
                <a:gd name="connsiteX14" fmla="*/ 3163683 w 9764451"/>
                <a:gd name="connsiteY14" fmla="*/ 3730224 h 4891005"/>
                <a:gd name="connsiteX15" fmla="*/ 4354948 w 9764451"/>
                <a:gd name="connsiteY15" fmla="*/ 4356136 h 4891005"/>
                <a:gd name="connsiteX16" fmla="*/ 6063725 w 9764451"/>
                <a:gd name="connsiteY16" fmla="*/ 4868241 h 4891005"/>
                <a:gd name="connsiteX17" fmla="*/ 7665095 w 9764451"/>
                <a:gd name="connsiteY17" fmla="*/ 4891005 h 4891005"/>
                <a:gd name="connsiteX18" fmla="*/ 8768479 w 9764451"/>
                <a:gd name="connsiteY18" fmla="*/ 4606503 h 4891005"/>
                <a:gd name="connsiteX19" fmla="*/ 9569163 w 9764451"/>
                <a:gd name="connsiteY19" fmla="*/ 4117156 h 4891005"/>
                <a:gd name="connsiteX20" fmla="*/ 9764451 w 9764451"/>
                <a:gd name="connsiteY20" fmla="*/ 3707469 h 4891005"/>
                <a:gd name="connsiteX21" fmla="*/ 9569165 w 9764451"/>
                <a:gd name="connsiteY21" fmla="*/ 2967758 h 4891005"/>
                <a:gd name="connsiteX22" fmla="*/ 8416115 w 9764451"/>
                <a:gd name="connsiteY22" fmla="*/ 2164752 h 4891005"/>
                <a:gd name="connsiteX23" fmla="*/ 2400307 w 9764451"/>
                <a:gd name="connsiteY23" fmla="*/ 209550 h 4891005"/>
                <a:gd name="connsiteX24" fmla="*/ 1466857 w 9764451"/>
                <a:gd name="connsiteY24" fmla="*/ 0 h 4891005"/>
                <a:gd name="connsiteX25" fmla="*/ 1390657 w 9764451"/>
                <a:gd name="connsiteY25" fmla="*/ 38100 h 4891005"/>
                <a:gd name="connsiteX0" fmla="*/ 1390657 w 9764451"/>
                <a:gd name="connsiteY0" fmla="*/ 38100 h 4891005"/>
                <a:gd name="connsiteX1" fmla="*/ 2095507 w 9764451"/>
                <a:gd name="connsiteY1" fmla="*/ 238125 h 4891005"/>
                <a:gd name="connsiteX2" fmla="*/ 1895482 w 9764451"/>
                <a:gd name="connsiteY2" fmla="*/ 295275 h 4891005"/>
                <a:gd name="connsiteX3" fmla="*/ 3771907 w 9764451"/>
                <a:gd name="connsiteY3" fmla="*/ 952500 h 4891005"/>
                <a:gd name="connsiteX4" fmla="*/ 2095507 w 9764451"/>
                <a:gd name="connsiteY4" fmla="*/ 1409700 h 4891005"/>
                <a:gd name="connsiteX5" fmla="*/ 2276482 w 9764451"/>
                <a:gd name="connsiteY5" fmla="*/ 1514475 h 4891005"/>
                <a:gd name="connsiteX6" fmla="*/ 2800357 w 9764451"/>
                <a:gd name="connsiteY6" fmla="*/ 1362075 h 4891005"/>
                <a:gd name="connsiteX7" fmla="*/ 3314707 w 9764451"/>
                <a:gd name="connsiteY7" fmla="*/ 1581150 h 4891005"/>
                <a:gd name="connsiteX8" fmla="*/ 4581532 w 9764451"/>
                <a:gd name="connsiteY8" fmla="*/ 1171575 h 4891005"/>
                <a:gd name="connsiteX9" fmla="*/ 7390664 w 9764451"/>
                <a:gd name="connsiteY9" fmla="*/ 2036606 h 4891005"/>
                <a:gd name="connsiteX10" fmla="*/ 5790322 w 9764451"/>
                <a:gd name="connsiteY10" fmla="*/ 4697541 h 4891005"/>
                <a:gd name="connsiteX11" fmla="*/ 3739787 w 9764451"/>
                <a:gd name="connsiteY11" fmla="*/ 3809885 h 4891005"/>
                <a:gd name="connsiteX12" fmla="*/ 0 w 9764451"/>
                <a:gd name="connsiteY12" fmla="*/ 805515 h 4891005"/>
                <a:gd name="connsiteX13" fmla="*/ 29294 w 9764451"/>
                <a:gd name="connsiteY13" fmla="*/ 1363144 h 4891005"/>
                <a:gd name="connsiteX14" fmla="*/ 3163683 w 9764451"/>
                <a:gd name="connsiteY14" fmla="*/ 3730224 h 4891005"/>
                <a:gd name="connsiteX15" fmla="*/ 4354948 w 9764451"/>
                <a:gd name="connsiteY15" fmla="*/ 4356136 h 4891005"/>
                <a:gd name="connsiteX16" fmla="*/ 6063725 w 9764451"/>
                <a:gd name="connsiteY16" fmla="*/ 4868241 h 4891005"/>
                <a:gd name="connsiteX17" fmla="*/ 7665095 w 9764451"/>
                <a:gd name="connsiteY17" fmla="*/ 4891005 h 4891005"/>
                <a:gd name="connsiteX18" fmla="*/ 8768479 w 9764451"/>
                <a:gd name="connsiteY18" fmla="*/ 4606503 h 4891005"/>
                <a:gd name="connsiteX19" fmla="*/ 9569163 w 9764451"/>
                <a:gd name="connsiteY19" fmla="*/ 4117156 h 4891005"/>
                <a:gd name="connsiteX20" fmla="*/ 9764451 w 9764451"/>
                <a:gd name="connsiteY20" fmla="*/ 3707469 h 4891005"/>
                <a:gd name="connsiteX21" fmla="*/ 9569165 w 9764451"/>
                <a:gd name="connsiteY21" fmla="*/ 2967758 h 4891005"/>
                <a:gd name="connsiteX22" fmla="*/ 8416115 w 9764451"/>
                <a:gd name="connsiteY22" fmla="*/ 2164752 h 4891005"/>
                <a:gd name="connsiteX23" fmla="*/ 2400307 w 9764451"/>
                <a:gd name="connsiteY23" fmla="*/ 209550 h 4891005"/>
                <a:gd name="connsiteX24" fmla="*/ 1466857 w 9764451"/>
                <a:gd name="connsiteY24" fmla="*/ 0 h 4891005"/>
                <a:gd name="connsiteX25" fmla="*/ 1390657 w 9764451"/>
                <a:gd name="connsiteY25" fmla="*/ 38100 h 4891005"/>
                <a:gd name="connsiteX0" fmla="*/ 1390657 w 9764451"/>
                <a:gd name="connsiteY0" fmla="*/ 38100 h 4891005"/>
                <a:gd name="connsiteX1" fmla="*/ 2095507 w 9764451"/>
                <a:gd name="connsiteY1" fmla="*/ 238125 h 4891005"/>
                <a:gd name="connsiteX2" fmla="*/ 1895482 w 9764451"/>
                <a:gd name="connsiteY2" fmla="*/ 295275 h 4891005"/>
                <a:gd name="connsiteX3" fmla="*/ 3771907 w 9764451"/>
                <a:gd name="connsiteY3" fmla="*/ 952500 h 4891005"/>
                <a:gd name="connsiteX4" fmla="*/ 2095507 w 9764451"/>
                <a:gd name="connsiteY4" fmla="*/ 1409700 h 4891005"/>
                <a:gd name="connsiteX5" fmla="*/ 2276482 w 9764451"/>
                <a:gd name="connsiteY5" fmla="*/ 1514475 h 4891005"/>
                <a:gd name="connsiteX6" fmla="*/ 2800357 w 9764451"/>
                <a:gd name="connsiteY6" fmla="*/ 1362075 h 4891005"/>
                <a:gd name="connsiteX7" fmla="*/ 3314707 w 9764451"/>
                <a:gd name="connsiteY7" fmla="*/ 1581150 h 4891005"/>
                <a:gd name="connsiteX8" fmla="*/ 4581532 w 9764451"/>
                <a:gd name="connsiteY8" fmla="*/ 1171575 h 4891005"/>
                <a:gd name="connsiteX9" fmla="*/ 7390664 w 9764451"/>
                <a:gd name="connsiteY9" fmla="*/ 2036606 h 4891005"/>
                <a:gd name="connsiteX10" fmla="*/ 6395718 w 9764451"/>
                <a:gd name="connsiteY10" fmla="*/ 3673325 h 4891005"/>
                <a:gd name="connsiteX11" fmla="*/ 5790322 w 9764451"/>
                <a:gd name="connsiteY11" fmla="*/ 4697541 h 4891005"/>
                <a:gd name="connsiteX12" fmla="*/ 3739787 w 9764451"/>
                <a:gd name="connsiteY12" fmla="*/ 3809885 h 4891005"/>
                <a:gd name="connsiteX13" fmla="*/ 0 w 9764451"/>
                <a:gd name="connsiteY13" fmla="*/ 805515 h 4891005"/>
                <a:gd name="connsiteX14" fmla="*/ 29294 w 9764451"/>
                <a:gd name="connsiteY14" fmla="*/ 1363144 h 4891005"/>
                <a:gd name="connsiteX15" fmla="*/ 3163683 w 9764451"/>
                <a:gd name="connsiteY15" fmla="*/ 3730224 h 4891005"/>
                <a:gd name="connsiteX16" fmla="*/ 4354948 w 9764451"/>
                <a:gd name="connsiteY16" fmla="*/ 4356136 h 4891005"/>
                <a:gd name="connsiteX17" fmla="*/ 6063725 w 9764451"/>
                <a:gd name="connsiteY17" fmla="*/ 4868241 h 4891005"/>
                <a:gd name="connsiteX18" fmla="*/ 7665095 w 9764451"/>
                <a:gd name="connsiteY18" fmla="*/ 4891005 h 4891005"/>
                <a:gd name="connsiteX19" fmla="*/ 8768479 w 9764451"/>
                <a:gd name="connsiteY19" fmla="*/ 4606503 h 4891005"/>
                <a:gd name="connsiteX20" fmla="*/ 9569163 w 9764451"/>
                <a:gd name="connsiteY20" fmla="*/ 4117156 h 4891005"/>
                <a:gd name="connsiteX21" fmla="*/ 9764451 w 9764451"/>
                <a:gd name="connsiteY21" fmla="*/ 3707469 h 4891005"/>
                <a:gd name="connsiteX22" fmla="*/ 9569165 w 9764451"/>
                <a:gd name="connsiteY22" fmla="*/ 2967758 h 4891005"/>
                <a:gd name="connsiteX23" fmla="*/ 8416115 w 9764451"/>
                <a:gd name="connsiteY23" fmla="*/ 2164752 h 4891005"/>
                <a:gd name="connsiteX24" fmla="*/ 2400307 w 9764451"/>
                <a:gd name="connsiteY24" fmla="*/ 209550 h 4891005"/>
                <a:gd name="connsiteX25" fmla="*/ 1466857 w 9764451"/>
                <a:gd name="connsiteY25" fmla="*/ 0 h 4891005"/>
                <a:gd name="connsiteX26" fmla="*/ 1390657 w 9764451"/>
                <a:gd name="connsiteY26" fmla="*/ 38100 h 4891005"/>
                <a:gd name="connsiteX0" fmla="*/ 1390657 w 9764451"/>
                <a:gd name="connsiteY0" fmla="*/ 38100 h 4891005"/>
                <a:gd name="connsiteX1" fmla="*/ 2095507 w 9764451"/>
                <a:gd name="connsiteY1" fmla="*/ 238125 h 4891005"/>
                <a:gd name="connsiteX2" fmla="*/ 1895482 w 9764451"/>
                <a:gd name="connsiteY2" fmla="*/ 295275 h 4891005"/>
                <a:gd name="connsiteX3" fmla="*/ 3771907 w 9764451"/>
                <a:gd name="connsiteY3" fmla="*/ 952500 h 4891005"/>
                <a:gd name="connsiteX4" fmla="*/ 2095507 w 9764451"/>
                <a:gd name="connsiteY4" fmla="*/ 1409700 h 4891005"/>
                <a:gd name="connsiteX5" fmla="*/ 2276482 w 9764451"/>
                <a:gd name="connsiteY5" fmla="*/ 1514475 h 4891005"/>
                <a:gd name="connsiteX6" fmla="*/ 2800357 w 9764451"/>
                <a:gd name="connsiteY6" fmla="*/ 1362075 h 4891005"/>
                <a:gd name="connsiteX7" fmla="*/ 3314707 w 9764451"/>
                <a:gd name="connsiteY7" fmla="*/ 1581150 h 4891005"/>
                <a:gd name="connsiteX8" fmla="*/ 4581532 w 9764451"/>
                <a:gd name="connsiteY8" fmla="*/ 1171575 h 4891005"/>
                <a:gd name="connsiteX9" fmla="*/ 7390664 w 9764451"/>
                <a:gd name="connsiteY9" fmla="*/ 2036606 h 4891005"/>
                <a:gd name="connsiteX10" fmla="*/ 7518631 w 9764451"/>
                <a:gd name="connsiteY10" fmla="*/ 4731685 h 4891005"/>
                <a:gd name="connsiteX11" fmla="*/ 5790322 w 9764451"/>
                <a:gd name="connsiteY11" fmla="*/ 4697541 h 4891005"/>
                <a:gd name="connsiteX12" fmla="*/ 3739787 w 9764451"/>
                <a:gd name="connsiteY12" fmla="*/ 3809885 h 4891005"/>
                <a:gd name="connsiteX13" fmla="*/ 0 w 9764451"/>
                <a:gd name="connsiteY13" fmla="*/ 805515 h 4891005"/>
                <a:gd name="connsiteX14" fmla="*/ 29294 w 9764451"/>
                <a:gd name="connsiteY14" fmla="*/ 1363144 h 4891005"/>
                <a:gd name="connsiteX15" fmla="*/ 3163683 w 9764451"/>
                <a:gd name="connsiteY15" fmla="*/ 3730224 h 4891005"/>
                <a:gd name="connsiteX16" fmla="*/ 4354948 w 9764451"/>
                <a:gd name="connsiteY16" fmla="*/ 4356136 h 4891005"/>
                <a:gd name="connsiteX17" fmla="*/ 6063725 w 9764451"/>
                <a:gd name="connsiteY17" fmla="*/ 4868241 h 4891005"/>
                <a:gd name="connsiteX18" fmla="*/ 7665095 w 9764451"/>
                <a:gd name="connsiteY18" fmla="*/ 4891005 h 4891005"/>
                <a:gd name="connsiteX19" fmla="*/ 8768479 w 9764451"/>
                <a:gd name="connsiteY19" fmla="*/ 4606503 h 4891005"/>
                <a:gd name="connsiteX20" fmla="*/ 9569163 w 9764451"/>
                <a:gd name="connsiteY20" fmla="*/ 4117156 h 4891005"/>
                <a:gd name="connsiteX21" fmla="*/ 9764451 w 9764451"/>
                <a:gd name="connsiteY21" fmla="*/ 3707469 h 4891005"/>
                <a:gd name="connsiteX22" fmla="*/ 9569165 w 9764451"/>
                <a:gd name="connsiteY22" fmla="*/ 2967758 h 4891005"/>
                <a:gd name="connsiteX23" fmla="*/ 8416115 w 9764451"/>
                <a:gd name="connsiteY23" fmla="*/ 2164752 h 4891005"/>
                <a:gd name="connsiteX24" fmla="*/ 2400307 w 9764451"/>
                <a:gd name="connsiteY24" fmla="*/ 209550 h 4891005"/>
                <a:gd name="connsiteX25" fmla="*/ 1466857 w 9764451"/>
                <a:gd name="connsiteY25" fmla="*/ 0 h 4891005"/>
                <a:gd name="connsiteX26" fmla="*/ 1390657 w 9764451"/>
                <a:gd name="connsiteY26" fmla="*/ 38100 h 4891005"/>
                <a:gd name="connsiteX0" fmla="*/ 1390657 w 9764451"/>
                <a:gd name="connsiteY0" fmla="*/ 38100 h 4891005"/>
                <a:gd name="connsiteX1" fmla="*/ 2095507 w 9764451"/>
                <a:gd name="connsiteY1" fmla="*/ 238125 h 4891005"/>
                <a:gd name="connsiteX2" fmla="*/ 1895482 w 9764451"/>
                <a:gd name="connsiteY2" fmla="*/ 295275 h 4891005"/>
                <a:gd name="connsiteX3" fmla="*/ 3771907 w 9764451"/>
                <a:gd name="connsiteY3" fmla="*/ 952500 h 4891005"/>
                <a:gd name="connsiteX4" fmla="*/ 2095507 w 9764451"/>
                <a:gd name="connsiteY4" fmla="*/ 1409700 h 4891005"/>
                <a:gd name="connsiteX5" fmla="*/ 2276482 w 9764451"/>
                <a:gd name="connsiteY5" fmla="*/ 1514475 h 4891005"/>
                <a:gd name="connsiteX6" fmla="*/ 2800357 w 9764451"/>
                <a:gd name="connsiteY6" fmla="*/ 1362075 h 4891005"/>
                <a:gd name="connsiteX7" fmla="*/ 3314707 w 9764451"/>
                <a:gd name="connsiteY7" fmla="*/ 1581150 h 4891005"/>
                <a:gd name="connsiteX8" fmla="*/ 4581532 w 9764451"/>
                <a:gd name="connsiteY8" fmla="*/ 1171575 h 4891005"/>
                <a:gd name="connsiteX9" fmla="*/ 7390664 w 9764451"/>
                <a:gd name="connsiteY9" fmla="*/ 2036606 h 4891005"/>
                <a:gd name="connsiteX10" fmla="*/ 7450278 w 9764451"/>
                <a:gd name="connsiteY10" fmla="*/ 3445719 h 4891005"/>
                <a:gd name="connsiteX11" fmla="*/ 7518631 w 9764451"/>
                <a:gd name="connsiteY11" fmla="*/ 4731685 h 4891005"/>
                <a:gd name="connsiteX12" fmla="*/ 5790322 w 9764451"/>
                <a:gd name="connsiteY12" fmla="*/ 4697541 h 4891005"/>
                <a:gd name="connsiteX13" fmla="*/ 3739787 w 9764451"/>
                <a:gd name="connsiteY13" fmla="*/ 3809885 h 4891005"/>
                <a:gd name="connsiteX14" fmla="*/ 0 w 9764451"/>
                <a:gd name="connsiteY14" fmla="*/ 805515 h 4891005"/>
                <a:gd name="connsiteX15" fmla="*/ 29294 w 9764451"/>
                <a:gd name="connsiteY15" fmla="*/ 1363144 h 4891005"/>
                <a:gd name="connsiteX16" fmla="*/ 3163683 w 9764451"/>
                <a:gd name="connsiteY16" fmla="*/ 3730224 h 4891005"/>
                <a:gd name="connsiteX17" fmla="*/ 4354948 w 9764451"/>
                <a:gd name="connsiteY17" fmla="*/ 4356136 h 4891005"/>
                <a:gd name="connsiteX18" fmla="*/ 6063725 w 9764451"/>
                <a:gd name="connsiteY18" fmla="*/ 4868241 h 4891005"/>
                <a:gd name="connsiteX19" fmla="*/ 7665095 w 9764451"/>
                <a:gd name="connsiteY19" fmla="*/ 4891005 h 4891005"/>
                <a:gd name="connsiteX20" fmla="*/ 8768479 w 9764451"/>
                <a:gd name="connsiteY20" fmla="*/ 4606503 h 4891005"/>
                <a:gd name="connsiteX21" fmla="*/ 9569163 w 9764451"/>
                <a:gd name="connsiteY21" fmla="*/ 4117156 h 4891005"/>
                <a:gd name="connsiteX22" fmla="*/ 9764451 w 9764451"/>
                <a:gd name="connsiteY22" fmla="*/ 3707469 h 4891005"/>
                <a:gd name="connsiteX23" fmla="*/ 9569165 w 9764451"/>
                <a:gd name="connsiteY23" fmla="*/ 2967758 h 4891005"/>
                <a:gd name="connsiteX24" fmla="*/ 8416115 w 9764451"/>
                <a:gd name="connsiteY24" fmla="*/ 2164752 h 4891005"/>
                <a:gd name="connsiteX25" fmla="*/ 2400307 w 9764451"/>
                <a:gd name="connsiteY25" fmla="*/ 209550 h 4891005"/>
                <a:gd name="connsiteX26" fmla="*/ 1466857 w 9764451"/>
                <a:gd name="connsiteY26" fmla="*/ 0 h 4891005"/>
                <a:gd name="connsiteX27" fmla="*/ 1390657 w 9764451"/>
                <a:gd name="connsiteY27" fmla="*/ 38100 h 4891005"/>
                <a:gd name="connsiteX0" fmla="*/ 1390657 w 9764451"/>
                <a:gd name="connsiteY0" fmla="*/ 38100 h 4891005"/>
                <a:gd name="connsiteX1" fmla="*/ 2095507 w 9764451"/>
                <a:gd name="connsiteY1" fmla="*/ 238125 h 4891005"/>
                <a:gd name="connsiteX2" fmla="*/ 1895482 w 9764451"/>
                <a:gd name="connsiteY2" fmla="*/ 295275 h 4891005"/>
                <a:gd name="connsiteX3" fmla="*/ 3771907 w 9764451"/>
                <a:gd name="connsiteY3" fmla="*/ 952500 h 4891005"/>
                <a:gd name="connsiteX4" fmla="*/ 2095507 w 9764451"/>
                <a:gd name="connsiteY4" fmla="*/ 1409700 h 4891005"/>
                <a:gd name="connsiteX5" fmla="*/ 2276482 w 9764451"/>
                <a:gd name="connsiteY5" fmla="*/ 1514475 h 4891005"/>
                <a:gd name="connsiteX6" fmla="*/ 2800357 w 9764451"/>
                <a:gd name="connsiteY6" fmla="*/ 1362075 h 4891005"/>
                <a:gd name="connsiteX7" fmla="*/ 3314707 w 9764451"/>
                <a:gd name="connsiteY7" fmla="*/ 1581150 h 4891005"/>
                <a:gd name="connsiteX8" fmla="*/ 4581532 w 9764451"/>
                <a:gd name="connsiteY8" fmla="*/ 1171575 h 4891005"/>
                <a:gd name="connsiteX9" fmla="*/ 7390664 w 9764451"/>
                <a:gd name="connsiteY9" fmla="*/ 2036606 h 4891005"/>
                <a:gd name="connsiteX10" fmla="*/ 8700129 w 9764451"/>
                <a:gd name="connsiteY10" fmla="*/ 4458557 h 4891005"/>
                <a:gd name="connsiteX11" fmla="*/ 7518631 w 9764451"/>
                <a:gd name="connsiteY11" fmla="*/ 4731685 h 4891005"/>
                <a:gd name="connsiteX12" fmla="*/ 5790322 w 9764451"/>
                <a:gd name="connsiteY12" fmla="*/ 4697541 h 4891005"/>
                <a:gd name="connsiteX13" fmla="*/ 3739787 w 9764451"/>
                <a:gd name="connsiteY13" fmla="*/ 3809885 h 4891005"/>
                <a:gd name="connsiteX14" fmla="*/ 0 w 9764451"/>
                <a:gd name="connsiteY14" fmla="*/ 805515 h 4891005"/>
                <a:gd name="connsiteX15" fmla="*/ 29294 w 9764451"/>
                <a:gd name="connsiteY15" fmla="*/ 1363144 h 4891005"/>
                <a:gd name="connsiteX16" fmla="*/ 3163683 w 9764451"/>
                <a:gd name="connsiteY16" fmla="*/ 3730224 h 4891005"/>
                <a:gd name="connsiteX17" fmla="*/ 4354948 w 9764451"/>
                <a:gd name="connsiteY17" fmla="*/ 4356136 h 4891005"/>
                <a:gd name="connsiteX18" fmla="*/ 6063725 w 9764451"/>
                <a:gd name="connsiteY18" fmla="*/ 4868241 h 4891005"/>
                <a:gd name="connsiteX19" fmla="*/ 7665095 w 9764451"/>
                <a:gd name="connsiteY19" fmla="*/ 4891005 h 4891005"/>
                <a:gd name="connsiteX20" fmla="*/ 8768479 w 9764451"/>
                <a:gd name="connsiteY20" fmla="*/ 4606503 h 4891005"/>
                <a:gd name="connsiteX21" fmla="*/ 9569163 w 9764451"/>
                <a:gd name="connsiteY21" fmla="*/ 4117156 h 4891005"/>
                <a:gd name="connsiteX22" fmla="*/ 9764451 w 9764451"/>
                <a:gd name="connsiteY22" fmla="*/ 3707469 h 4891005"/>
                <a:gd name="connsiteX23" fmla="*/ 9569165 w 9764451"/>
                <a:gd name="connsiteY23" fmla="*/ 2967758 h 4891005"/>
                <a:gd name="connsiteX24" fmla="*/ 8416115 w 9764451"/>
                <a:gd name="connsiteY24" fmla="*/ 2164752 h 4891005"/>
                <a:gd name="connsiteX25" fmla="*/ 2400307 w 9764451"/>
                <a:gd name="connsiteY25" fmla="*/ 209550 h 4891005"/>
                <a:gd name="connsiteX26" fmla="*/ 1466857 w 9764451"/>
                <a:gd name="connsiteY26" fmla="*/ 0 h 4891005"/>
                <a:gd name="connsiteX27" fmla="*/ 1390657 w 9764451"/>
                <a:gd name="connsiteY27" fmla="*/ 38100 h 4891005"/>
                <a:gd name="connsiteX0" fmla="*/ 1390657 w 9764451"/>
                <a:gd name="connsiteY0" fmla="*/ 38100 h 4891005"/>
                <a:gd name="connsiteX1" fmla="*/ 2095507 w 9764451"/>
                <a:gd name="connsiteY1" fmla="*/ 238125 h 4891005"/>
                <a:gd name="connsiteX2" fmla="*/ 1895482 w 9764451"/>
                <a:gd name="connsiteY2" fmla="*/ 295275 h 4891005"/>
                <a:gd name="connsiteX3" fmla="*/ 3771907 w 9764451"/>
                <a:gd name="connsiteY3" fmla="*/ 952500 h 4891005"/>
                <a:gd name="connsiteX4" fmla="*/ 2095507 w 9764451"/>
                <a:gd name="connsiteY4" fmla="*/ 1409700 h 4891005"/>
                <a:gd name="connsiteX5" fmla="*/ 2276482 w 9764451"/>
                <a:gd name="connsiteY5" fmla="*/ 1514475 h 4891005"/>
                <a:gd name="connsiteX6" fmla="*/ 2800357 w 9764451"/>
                <a:gd name="connsiteY6" fmla="*/ 1362075 h 4891005"/>
                <a:gd name="connsiteX7" fmla="*/ 3314707 w 9764451"/>
                <a:gd name="connsiteY7" fmla="*/ 1581150 h 4891005"/>
                <a:gd name="connsiteX8" fmla="*/ 4581532 w 9764451"/>
                <a:gd name="connsiteY8" fmla="*/ 1171575 h 4891005"/>
                <a:gd name="connsiteX9" fmla="*/ 7390664 w 9764451"/>
                <a:gd name="connsiteY9" fmla="*/ 2036606 h 4891005"/>
                <a:gd name="connsiteX10" fmla="*/ 8065439 w 9764451"/>
                <a:gd name="connsiteY10" fmla="*/ 3263638 h 4891005"/>
                <a:gd name="connsiteX11" fmla="*/ 8700129 w 9764451"/>
                <a:gd name="connsiteY11" fmla="*/ 4458557 h 4891005"/>
                <a:gd name="connsiteX12" fmla="*/ 7518631 w 9764451"/>
                <a:gd name="connsiteY12" fmla="*/ 4731685 h 4891005"/>
                <a:gd name="connsiteX13" fmla="*/ 5790322 w 9764451"/>
                <a:gd name="connsiteY13" fmla="*/ 4697541 h 4891005"/>
                <a:gd name="connsiteX14" fmla="*/ 3739787 w 9764451"/>
                <a:gd name="connsiteY14" fmla="*/ 3809885 h 4891005"/>
                <a:gd name="connsiteX15" fmla="*/ 0 w 9764451"/>
                <a:gd name="connsiteY15" fmla="*/ 805515 h 4891005"/>
                <a:gd name="connsiteX16" fmla="*/ 29294 w 9764451"/>
                <a:gd name="connsiteY16" fmla="*/ 1363144 h 4891005"/>
                <a:gd name="connsiteX17" fmla="*/ 3163683 w 9764451"/>
                <a:gd name="connsiteY17" fmla="*/ 3730224 h 4891005"/>
                <a:gd name="connsiteX18" fmla="*/ 4354948 w 9764451"/>
                <a:gd name="connsiteY18" fmla="*/ 4356136 h 4891005"/>
                <a:gd name="connsiteX19" fmla="*/ 6063725 w 9764451"/>
                <a:gd name="connsiteY19" fmla="*/ 4868241 h 4891005"/>
                <a:gd name="connsiteX20" fmla="*/ 7665095 w 9764451"/>
                <a:gd name="connsiteY20" fmla="*/ 4891005 h 4891005"/>
                <a:gd name="connsiteX21" fmla="*/ 8768479 w 9764451"/>
                <a:gd name="connsiteY21" fmla="*/ 4606503 h 4891005"/>
                <a:gd name="connsiteX22" fmla="*/ 9569163 w 9764451"/>
                <a:gd name="connsiteY22" fmla="*/ 4117156 h 4891005"/>
                <a:gd name="connsiteX23" fmla="*/ 9764451 w 9764451"/>
                <a:gd name="connsiteY23" fmla="*/ 3707469 h 4891005"/>
                <a:gd name="connsiteX24" fmla="*/ 9569165 w 9764451"/>
                <a:gd name="connsiteY24" fmla="*/ 2967758 h 4891005"/>
                <a:gd name="connsiteX25" fmla="*/ 8416115 w 9764451"/>
                <a:gd name="connsiteY25" fmla="*/ 2164752 h 4891005"/>
                <a:gd name="connsiteX26" fmla="*/ 2400307 w 9764451"/>
                <a:gd name="connsiteY26" fmla="*/ 209550 h 4891005"/>
                <a:gd name="connsiteX27" fmla="*/ 1466857 w 9764451"/>
                <a:gd name="connsiteY27" fmla="*/ 0 h 4891005"/>
                <a:gd name="connsiteX28" fmla="*/ 1390657 w 9764451"/>
                <a:gd name="connsiteY28" fmla="*/ 38100 h 4891005"/>
                <a:gd name="connsiteX0" fmla="*/ 1390657 w 9764451"/>
                <a:gd name="connsiteY0" fmla="*/ 38100 h 4891005"/>
                <a:gd name="connsiteX1" fmla="*/ 2095507 w 9764451"/>
                <a:gd name="connsiteY1" fmla="*/ 238125 h 4891005"/>
                <a:gd name="connsiteX2" fmla="*/ 1895482 w 9764451"/>
                <a:gd name="connsiteY2" fmla="*/ 295275 h 4891005"/>
                <a:gd name="connsiteX3" fmla="*/ 3771907 w 9764451"/>
                <a:gd name="connsiteY3" fmla="*/ 952500 h 4891005"/>
                <a:gd name="connsiteX4" fmla="*/ 2095507 w 9764451"/>
                <a:gd name="connsiteY4" fmla="*/ 1409700 h 4891005"/>
                <a:gd name="connsiteX5" fmla="*/ 2276482 w 9764451"/>
                <a:gd name="connsiteY5" fmla="*/ 1514475 h 4891005"/>
                <a:gd name="connsiteX6" fmla="*/ 2800357 w 9764451"/>
                <a:gd name="connsiteY6" fmla="*/ 1362075 h 4891005"/>
                <a:gd name="connsiteX7" fmla="*/ 3314707 w 9764451"/>
                <a:gd name="connsiteY7" fmla="*/ 1581150 h 4891005"/>
                <a:gd name="connsiteX8" fmla="*/ 4581532 w 9764451"/>
                <a:gd name="connsiteY8" fmla="*/ 1171575 h 4891005"/>
                <a:gd name="connsiteX9" fmla="*/ 7390664 w 9764451"/>
                <a:gd name="connsiteY9" fmla="*/ 2036606 h 4891005"/>
                <a:gd name="connsiteX10" fmla="*/ 9354348 w 9764451"/>
                <a:gd name="connsiteY10" fmla="*/ 4083012 h 4891005"/>
                <a:gd name="connsiteX11" fmla="*/ 8700129 w 9764451"/>
                <a:gd name="connsiteY11" fmla="*/ 4458557 h 4891005"/>
                <a:gd name="connsiteX12" fmla="*/ 7518631 w 9764451"/>
                <a:gd name="connsiteY12" fmla="*/ 4731685 h 4891005"/>
                <a:gd name="connsiteX13" fmla="*/ 5790322 w 9764451"/>
                <a:gd name="connsiteY13" fmla="*/ 4697541 h 4891005"/>
                <a:gd name="connsiteX14" fmla="*/ 3739787 w 9764451"/>
                <a:gd name="connsiteY14" fmla="*/ 3809885 h 4891005"/>
                <a:gd name="connsiteX15" fmla="*/ 0 w 9764451"/>
                <a:gd name="connsiteY15" fmla="*/ 805515 h 4891005"/>
                <a:gd name="connsiteX16" fmla="*/ 29294 w 9764451"/>
                <a:gd name="connsiteY16" fmla="*/ 1363144 h 4891005"/>
                <a:gd name="connsiteX17" fmla="*/ 3163683 w 9764451"/>
                <a:gd name="connsiteY17" fmla="*/ 3730224 h 4891005"/>
                <a:gd name="connsiteX18" fmla="*/ 4354948 w 9764451"/>
                <a:gd name="connsiteY18" fmla="*/ 4356136 h 4891005"/>
                <a:gd name="connsiteX19" fmla="*/ 6063725 w 9764451"/>
                <a:gd name="connsiteY19" fmla="*/ 4868241 h 4891005"/>
                <a:gd name="connsiteX20" fmla="*/ 7665095 w 9764451"/>
                <a:gd name="connsiteY20" fmla="*/ 4891005 h 4891005"/>
                <a:gd name="connsiteX21" fmla="*/ 8768479 w 9764451"/>
                <a:gd name="connsiteY21" fmla="*/ 4606503 h 4891005"/>
                <a:gd name="connsiteX22" fmla="*/ 9569163 w 9764451"/>
                <a:gd name="connsiteY22" fmla="*/ 4117156 h 4891005"/>
                <a:gd name="connsiteX23" fmla="*/ 9764451 w 9764451"/>
                <a:gd name="connsiteY23" fmla="*/ 3707469 h 4891005"/>
                <a:gd name="connsiteX24" fmla="*/ 9569165 w 9764451"/>
                <a:gd name="connsiteY24" fmla="*/ 2967758 h 4891005"/>
                <a:gd name="connsiteX25" fmla="*/ 8416115 w 9764451"/>
                <a:gd name="connsiteY25" fmla="*/ 2164752 h 4891005"/>
                <a:gd name="connsiteX26" fmla="*/ 2400307 w 9764451"/>
                <a:gd name="connsiteY26" fmla="*/ 209550 h 4891005"/>
                <a:gd name="connsiteX27" fmla="*/ 1466857 w 9764451"/>
                <a:gd name="connsiteY27" fmla="*/ 0 h 4891005"/>
                <a:gd name="connsiteX28" fmla="*/ 1390657 w 9764451"/>
                <a:gd name="connsiteY28" fmla="*/ 38100 h 4891005"/>
                <a:gd name="connsiteX0" fmla="*/ 1390657 w 9764451"/>
                <a:gd name="connsiteY0" fmla="*/ 38100 h 4891005"/>
                <a:gd name="connsiteX1" fmla="*/ 2095507 w 9764451"/>
                <a:gd name="connsiteY1" fmla="*/ 238125 h 4891005"/>
                <a:gd name="connsiteX2" fmla="*/ 1895482 w 9764451"/>
                <a:gd name="connsiteY2" fmla="*/ 295275 h 4891005"/>
                <a:gd name="connsiteX3" fmla="*/ 3771907 w 9764451"/>
                <a:gd name="connsiteY3" fmla="*/ 952500 h 4891005"/>
                <a:gd name="connsiteX4" fmla="*/ 2095507 w 9764451"/>
                <a:gd name="connsiteY4" fmla="*/ 1409700 h 4891005"/>
                <a:gd name="connsiteX5" fmla="*/ 2276482 w 9764451"/>
                <a:gd name="connsiteY5" fmla="*/ 1514475 h 4891005"/>
                <a:gd name="connsiteX6" fmla="*/ 2800357 w 9764451"/>
                <a:gd name="connsiteY6" fmla="*/ 1362075 h 4891005"/>
                <a:gd name="connsiteX7" fmla="*/ 3314707 w 9764451"/>
                <a:gd name="connsiteY7" fmla="*/ 1581150 h 4891005"/>
                <a:gd name="connsiteX8" fmla="*/ 4581532 w 9764451"/>
                <a:gd name="connsiteY8" fmla="*/ 1171575 h 4891005"/>
                <a:gd name="connsiteX9" fmla="*/ 7390664 w 9764451"/>
                <a:gd name="connsiteY9" fmla="*/ 2036606 h 4891005"/>
                <a:gd name="connsiteX10" fmla="*/ 9354348 w 9764451"/>
                <a:gd name="connsiteY10" fmla="*/ 4083012 h 4891005"/>
                <a:gd name="connsiteX11" fmla="*/ 8690364 w 9764451"/>
                <a:gd name="connsiteY11" fmla="*/ 3377440 h 4891005"/>
                <a:gd name="connsiteX12" fmla="*/ 8700129 w 9764451"/>
                <a:gd name="connsiteY12" fmla="*/ 4458557 h 4891005"/>
                <a:gd name="connsiteX13" fmla="*/ 7518631 w 9764451"/>
                <a:gd name="connsiteY13" fmla="*/ 4731685 h 4891005"/>
                <a:gd name="connsiteX14" fmla="*/ 5790322 w 9764451"/>
                <a:gd name="connsiteY14" fmla="*/ 4697541 h 4891005"/>
                <a:gd name="connsiteX15" fmla="*/ 3739787 w 9764451"/>
                <a:gd name="connsiteY15" fmla="*/ 3809885 h 4891005"/>
                <a:gd name="connsiteX16" fmla="*/ 0 w 9764451"/>
                <a:gd name="connsiteY16" fmla="*/ 805515 h 4891005"/>
                <a:gd name="connsiteX17" fmla="*/ 29294 w 9764451"/>
                <a:gd name="connsiteY17" fmla="*/ 1363144 h 4891005"/>
                <a:gd name="connsiteX18" fmla="*/ 3163683 w 9764451"/>
                <a:gd name="connsiteY18" fmla="*/ 3730224 h 4891005"/>
                <a:gd name="connsiteX19" fmla="*/ 4354948 w 9764451"/>
                <a:gd name="connsiteY19" fmla="*/ 4356136 h 4891005"/>
                <a:gd name="connsiteX20" fmla="*/ 6063725 w 9764451"/>
                <a:gd name="connsiteY20" fmla="*/ 4868241 h 4891005"/>
                <a:gd name="connsiteX21" fmla="*/ 7665095 w 9764451"/>
                <a:gd name="connsiteY21" fmla="*/ 4891005 h 4891005"/>
                <a:gd name="connsiteX22" fmla="*/ 8768479 w 9764451"/>
                <a:gd name="connsiteY22" fmla="*/ 4606503 h 4891005"/>
                <a:gd name="connsiteX23" fmla="*/ 9569163 w 9764451"/>
                <a:gd name="connsiteY23" fmla="*/ 4117156 h 4891005"/>
                <a:gd name="connsiteX24" fmla="*/ 9764451 w 9764451"/>
                <a:gd name="connsiteY24" fmla="*/ 3707469 h 4891005"/>
                <a:gd name="connsiteX25" fmla="*/ 9569165 w 9764451"/>
                <a:gd name="connsiteY25" fmla="*/ 2967758 h 4891005"/>
                <a:gd name="connsiteX26" fmla="*/ 8416115 w 9764451"/>
                <a:gd name="connsiteY26" fmla="*/ 2164752 h 4891005"/>
                <a:gd name="connsiteX27" fmla="*/ 2400307 w 9764451"/>
                <a:gd name="connsiteY27" fmla="*/ 209550 h 4891005"/>
                <a:gd name="connsiteX28" fmla="*/ 1466857 w 9764451"/>
                <a:gd name="connsiteY28" fmla="*/ 0 h 4891005"/>
                <a:gd name="connsiteX29" fmla="*/ 1390657 w 9764451"/>
                <a:gd name="connsiteY29" fmla="*/ 38100 h 4891005"/>
                <a:gd name="connsiteX0" fmla="*/ 1390657 w 9764451"/>
                <a:gd name="connsiteY0" fmla="*/ 38100 h 4891005"/>
                <a:gd name="connsiteX1" fmla="*/ 2095507 w 9764451"/>
                <a:gd name="connsiteY1" fmla="*/ 238125 h 4891005"/>
                <a:gd name="connsiteX2" fmla="*/ 1895482 w 9764451"/>
                <a:gd name="connsiteY2" fmla="*/ 295275 h 4891005"/>
                <a:gd name="connsiteX3" fmla="*/ 3771907 w 9764451"/>
                <a:gd name="connsiteY3" fmla="*/ 952500 h 4891005"/>
                <a:gd name="connsiteX4" fmla="*/ 2095507 w 9764451"/>
                <a:gd name="connsiteY4" fmla="*/ 1409700 h 4891005"/>
                <a:gd name="connsiteX5" fmla="*/ 2276482 w 9764451"/>
                <a:gd name="connsiteY5" fmla="*/ 1514475 h 4891005"/>
                <a:gd name="connsiteX6" fmla="*/ 2800357 w 9764451"/>
                <a:gd name="connsiteY6" fmla="*/ 1362075 h 4891005"/>
                <a:gd name="connsiteX7" fmla="*/ 3314707 w 9764451"/>
                <a:gd name="connsiteY7" fmla="*/ 1581150 h 4891005"/>
                <a:gd name="connsiteX8" fmla="*/ 4581532 w 9764451"/>
                <a:gd name="connsiteY8" fmla="*/ 1171575 h 4891005"/>
                <a:gd name="connsiteX9" fmla="*/ 7390664 w 9764451"/>
                <a:gd name="connsiteY9" fmla="*/ 2036606 h 4891005"/>
                <a:gd name="connsiteX10" fmla="*/ 9354348 w 9764451"/>
                <a:gd name="connsiteY10" fmla="*/ 4083012 h 4891005"/>
                <a:gd name="connsiteX11" fmla="*/ 9071178 w 9764451"/>
                <a:gd name="connsiteY11" fmla="*/ 4253713 h 4891005"/>
                <a:gd name="connsiteX12" fmla="*/ 8700129 w 9764451"/>
                <a:gd name="connsiteY12" fmla="*/ 4458557 h 4891005"/>
                <a:gd name="connsiteX13" fmla="*/ 7518631 w 9764451"/>
                <a:gd name="connsiteY13" fmla="*/ 4731685 h 4891005"/>
                <a:gd name="connsiteX14" fmla="*/ 5790322 w 9764451"/>
                <a:gd name="connsiteY14" fmla="*/ 4697541 h 4891005"/>
                <a:gd name="connsiteX15" fmla="*/ 3739787 w 9764451"/>
                <a:gd name="connsiteY15" fmla="*/ 3809885 h 4891005"/>
                <a:gd name="connsiteX16" fmla="*/ 0 w 9764451"/>
                <a:gd name="connsiteY16" fmla="*/ 805515 h 4891005"/>
                <a:gd name="connsiteX17" fmla="*/ 29294 w 9764451"/>
                <a:gd name="connsiteY17" fmla="*/ 1363144 h 4891005"/>
                <a:gd name="connsiteX18" fmla="*/ 3163683 w 9764451"/>
                <a:gd name="connsiteY18" fmla="*/ 3730224 h 4891005"/>
                <a:gd name="connsiteX19" fmla="*/ 4354948 w 9764451"/>
                <a:gd name="connsiteY19" fmla="*/ 4356136 h 4891005"/>
                <a:gd name="connsiteX20" fmla="*/ 6063725 w 9764451"/>
                <a:gd name="connsiteY20" fmla="*/ 4868241 h 4891005"/>
                <a:gd name="connsiteX21" fmla="*/ 7665095 w 9764451"/>
                <a:gd name="connsiteY21" fmla="*/ 4891005 h 4891005"/>
                <a:gd name="connsiteX22" fmla="*/ 8768479 w 9764451"/>
                <a:gd name="connsiteY22" fmla="*/ 4606503 h 4891005"/>
                <a:gd name="connsiteX23" fmla="*/ 9569163 w 9764451"/>
                <a:gd name="connsiteY23" fmla="*/ 4117156 h 4891005"/>
                <a:gd name="connsiteX24" fmla="*/ 9764451 w 9764451"/>
                <a:gd name="connsiteY24" fmla="*/ 3707469 h 4891005"/>
                <a:gd name="connsiteX25" fmla="*/ 9569165 w 9764451"/>
                <a:gd name="connsiteY25" fmla="*/ 2967758 h 4891005"/>
                <a:gd name="connsiteX26" fmla="*/ 8416115 w 9764451"/>
                <a:gd name="connsiteY26" fmla="*/ 2164752 h 4891005"/>
                <a:gd name="connsiteX27" fmla="*/ 2400307 w 9764451"/>
                <a:gd name="connsiteY27" fmla="*/ 209550 h 4891005"/>
                <a:gd name="connsiteX28" fmla="*/ 1466857 w 9764451"/>
                <a:gd name="connsiteY28" fmla="*/ 0 h 4891005"/>
                <a:gd name="connsiteX29" fmla="*/ 1390657 w 9764451"/>
                <a:gd name="connsiteY29" fmla="*/ 38100 h 4891005"/>
                <a:gd name="connsiteX0" fmla="*/ 1390657 w 9764451"/>
                <a:gd name="connsiteY0" fmla="*/ 38100 h 4891005"/>
                <a:gd name="connsiteX1" fmla="*/ 2095507 w 9764451"/>
                <a:gd name="connsiteY1" fmla="*/ 238125 h 4891005"/>
                <a:gd name="connsiteX2" fmla="*/ 1895482 w 9764451"/>
                <a:gd name="connsiteY2" fmla="*/ 295275 h 4891005"/>
                <a:gd name="connsiteX3" fmla="*/ 3771907 w 9764451"/>
                <a:gd name="connsiteY3" fmla="*/ 952500 h 4891005"/>
                <a:gd name="connsiteX4" fmla="*/ 2095507 w 9764451"/>
                <a:gd name="connsiteY4" fmla="*/ 1409700 h 4891005"/>
                <a:gd name="connsiteX5" fmla="*/ 2276482 w 9764451"/>
                <a:gd name="connsiteY5" fmla="*/ 1514475 h 4891005"/>
                <a:gd name="connsiteX6" fmla="*/ 2800357 w 9764451"/>
                <a:gd name="connsiteY6" fmla="*/ 1362075 h 4891005"/>
                <a:gd name="connsiteX7" fmla="*/ 3314707 w 9764451"/>
                <a:gd name="connsiteY7" fmla="*/ 1581150 h 4891005"/>
                <a:gd name="connsiteX8" fmla="*/ 4581532 w 9764451"/>
                <a:gd name="connsiteY8" fmla="*/ 1171575 h 4891005"/>
                <a:gd name="connsiteX9" fmla="*/ 7390664 w 9764451"/>
                <a:gd name="connsiteY9" fmla="*/ 2036606 h 4891005"/>
                <a:gd name="connsiteX10" fmla="*/ 9598459 w 9764451"/>
                <a:gd name="connsiteY10" fmla="*/ 3661945 h 4891005"/>
                <a:gd name="connsiteX11" fmla="*/ 9071178 w 9764451"/>
                <a:gd name="connsiteY11" fmla="*/ 4253713 h 4891005"/>
                <a:gd name="connsiteX12" fmla="*/ 8700129 w 9764451"/>
                <a:gd name="connsiteY12" fmla="*/ 4458557 h 4891005"/>
                <a:gd name="connsiteX13" fmla="*/ 7518631 w 9764451"/>
                <a:gd name="connsiteY13" fmla="*/ 4731685 h 4891005"/>
                <a:gd name="connsiteX14" fmla="*/ 5790322 w 9764451"/>
                <a:gd name="connsiteY14" fmla="*/ 4697541 h 4891005"/>
                <a:gd name="connsiteX15" fmla="*/ 3739787 w 9764451"/>
                <a:gd name="connsiteY15" fmla="*/ 3809885 h 4891005"/>
                <a:gd name="connsiteX16" fmla="*/ 0 w 9764451"/>
                <a:gd name="connsiteY16" fmla="*/ 805515 h 4891005"/>
                <a:gd name="connsiteX17" fmla="*/ 29294 w 9764451"/>
                <a:gd name="connsiteY17" fmla="*/ 1363144 h 4891005"/>
                <a:gd name="connsiteX18" fmla="*/ 3163683 w 9764451"/>
                <a:gd name="connsiteY18" fmla="*/ 3730224 h 4891005"/>
                <a:gd name="connsiteX19" fmla="*/ 4354948 w 9764451"/>
                <a:gd name="connsiteY19" fmla="*/ 4356136 h 4891005"/>
                <a:gd name="connsiteX20" fmla="*/ 6063725 w 9764451"/>
                <a:gd name="connsiteY20" fmla="*/ 4868241 h 4891005"/>
                <a:gd name="connsiteX21" fmla="*/ 7665095 w 9764451"/>
                <a:gd name="connsiteY21" fmla="*/ 4891005 h 4891005"/>
                <a:gd name="connsiteX22" fmla="*/ 8768479 w 9764451"/>
                <a:gd name="connsiteY22" fmla="*/ 4606503 h 4891005"/>
                <a:gd name="connsiteX23" fmla="*/ 9569163 w 9764451"/>
                <a:gd name="connsiteY23" fmla="*/ 4117156 h 4891005"/>
                <a:gd name="connsiteX24" fmla="*/ 9764451 w 9764451"/>
                <a:gd name="connsiteY24" fmla="*/ 3707469 h 4891005"/>
                <a:gd name="connsiteX25" fmla="*/ 9569165 w 9764451"/>
                <a:gd name="connsiteY25" fmla="*/ 2967758 h 4891005"/>
                <a:gd name="connsiteX26" fmla="*/ 8416115 w 9764451"/>
                <a:gd name="connsiteY26" fmla="*/ 2164752 h 4891005"/>
                <a:gd name="connsiteX27" fmla="*/ 2400307 w 9764451"/>
                <a:gd name="connsiteY27" fmla="*/ 209550 h 4891005"/>
                <a:gd name="connsiteX28" fmla="*/ 1466857 w 9764451"/>
                <a:gd name="connsiteY28" fmla="*/ 0 h 4891005"/>
                <a:gd name="connsiteX29" fmla="*/ 1390657 w 9764451"/>
                <a:gd name="connsiteY29" fmla="*/ 38100 h 4891005"/>
                <a:gd name="connsiteX0" fmla="*/ 1390657 w 9764451"/>
                <a:gd name="connsiteY0" fmla="*/ 38100 h 4891005"/>
                <a:gd name="connsiteX1" fmla="*/ 2095507 w 9764451"/>
                <a:gd name="connsiteY1" fmla="*/ 238125 h 4891005"/>
                <a:gd name="connsiteX2" fmla="*/ 1895482 w 9764451"/>
                <a:gd name="connsiteY2" fmla="*/ 295275 h 4891005"/>
                <a:gd name="connsiteX3" fmla="*/ 3771907 w 9764451"/>
                <a:gd name="connsiteY3" fmla="*/ 952500 h 4891005"/>
                <a:gd name="connsiteX4" fmla="*/ 2095507 w 9764451"/>
                <a:gd name="connsiteY4" fmla="*/ 1409700 h 4891005"/>
                <a:gd name="connsiteX5" fmla="*/ 2276482 w 9764451"/>
                <a:gd name="connsiteY5" fmla="*/ 1514475 h 4891005"/>
                <a:gd name="connsiteX6" fmla="*/ 2800357 w 9764451"/>
                <a:gd name="connsiteY6" fmla="*/ 1362075 h 4891005"/>
                <a:gd name="connsiteX7" fmla="*/ 3314707 w 9764451"/>
                <a:gd name="connsiteY7" fmla="*/ 1581150 h 4891005"/>
                <a:gd name="connsiteX8" fmla="*/ 4581532 w 9764451"/>
                <a:gd name="connsiteY8" fmla="*/ 1171575 h 4891005"/>
                <a:gd name="connsiteX9" fmla="*/ 7390664 w 9764451"/>
                <a:gd name="connsiteY9" fmla="*/ 2036606 h 4891005"/>
                <a:gd name="connsiteX10" fmla="*/ 9598459 w 9764451"/>
                <a:gd name="connsiteY10" fmla="*/ 3661945 h 4891005"/>
                <a:gd name="connsiteX11" fmla="*/ 9373875 w 9764451"/>
                <a:gd name="connsiteY11" fmla="*/ 3991969 h 4891005"/>
                <a:gd name="connsiteX12" fmla="*/ 8700129 w 9764451"/>
                <a:gd name="connsiteY12" fmla="*/ 4458557 h 4891005"/>
                <a:gd name="connsiteX13" fmla="*/ 7518631 w 9764451"/>
                <a:gd name="connsiteY13" fmla="*/ 4731685 h 4891005"/>
                <a:gd name="connsiteX14" fmla="*/ 5790322 w 9764451"/>
                <a:gd name="connsiteY14" fmla="*/ 4697541 h 4891005"/>
                <a:gd name="connsiteX15" fmla="*/ 3739787 w 9764451"/>
                <a:gd name="connsiteY15" fmla="*/ 3809885 h 4891005"/>
                <a:gd name="connsiteX16" fmla="*/ 0 w 9764451"/>
                <a:gd name="connsiteY16" fmla="*/ 805515 h 4891005"/>
                <a:gd name="connsiteX17" fmla="*/ 29294 w 9764451"/>
                <a:gd name="connsiteY17" fmla="*/ 1363144 h 4891005"/>
                <a:gd name="connsiteX18" fmla="*/ 3163683 w 9764451"/>
                <a:gd name="connsiteY18" fmla="*/ 3730224 h 4891005"/>
                <a:gd name="connsiteX19" fmla="*/ 4354948 w 9764451"/>
                <a:gd name="connsiteY19" fmla="*/ 4356136 h 4891005"/>
                <a:gd name="connsiteX20" fmla="*/ 6063725 w 9764451"/>
                <a:gd name="connsiteY20" fmla="*/ 4868241 h 4891005"/>
                <a:gd name="connsiteX21" fmla="*/ 7665095 w 9764451"/>
                <a:gd name="connsiteY21" fmla="*/ 4891005 h 4891005"/>
                <a:gd name="connsiteX22" fmla="*/ 8768479 w 9764451"/>
                <a:gd name="connsiteY22" fmla="*/ 4606503 h 4891005"/>
                <a:gd name="connsiteX23" fmla="*/ 9569163 w 9764451"/>
                <a:gd name="connsiteY23" fmla="*/ 4117156 h 4891005"/>
                <a:gd name="connsiteX24" fmla="*/ 9764451 w 9764451"/>
                <a:gd name="connsiteY24" fmla="*/ 3707469 h 4891005"/>
                <a:gd name="connsiteX25" fmla="*/ 9569165 w 9764451"/>
                <a:gd name="connsiteY25" fmla="*/ 2967758 h 4891005"/>
                <a:gd name="connsiteX26" fmla="*/ 8416115 w 9764451"/>
                <a:gd name="connsiteY26" fmla="*/ 2164752 h 4891005"/>
                <a:gd name="connsiteX27" fmla="*/ 2400307 w 9764451"/>
                <a:gd name="connsiteY27" fmla="*/ 209550 h 4891005"/>
                <a:gd name="connsiteX28" fmla="*/ 1466857 w 9764451"/>
                <a:gd name="connsiteY28" fmla="*/ 0 h 4891005"/>
                <a:gd name="connsiteX29" fmla="*/ 1390657 w 9764451"/>
                <a:gd name="connsiteY29" fmla="*/ 38100 h 4891005"/>
                <a:gd name="connsiteX0" fmla="*/ 1390657 w 9764451"/>
                <a:gd name="connsiteY0" fmla="*/ 38100 h 4891005"/>
                <a:gd name="connsiteX1" fmla="*/ 2095507 w 9764451"/>
                <a:gd name="connsiteY1" fmla="*/ 238125 h 4891005"/>
                <a:gd name="connsiteX2" fmla="*/ 1895482 w 9764451"/>
                <a:gd name="connsiteY2" fmla="*/ 295275 h 4891005"/>
                <a:gd name="connsiteX3" fmla="*/ 3771907 w 9764451"/>
                <a:gd name="connsiteY3" fmla="*/ 952500 h 4891005"/>
                <a:gd name="connsiteX4" fmla="*/ 2095507 w 9764451"/>
                <a:gd name="connsiteY4" fmla="*/ 1409700 h 4891005"/>
                <a:gd name="connsiteX5" fmla="*/ 2276482 w 9764451"/>
                <a:gd name="connsiteY5" fmla="*/ 1514475 h 4891005"/>
                <a:gd name="connsiteX6" fmla="*/ 2800357 w 9764451"/>
                <a:gd name="connsiteY6" fmla="*/ 1362075 h 4891005"/>
                <a:gd name="connsiteX7" fmla="*/ 3314707 w 9764451"/>
                <a:gd name="connsiteY7" fmla="*/ 1581150 h 4891005"/>
                <a:gd name="connsiteX8" fmla="*/ 4581532 w 9764451"/>
                <a:gd name="connsiteY8" fmla="*/ 1171575 h 4891005"/>
                <a:gd name="connsiteX9" fmla="*/ 7390664 w 9764451"/>
                <a:gd name="connsiteY9" fmla="*/ 2036606 h 4891005"/>
                <a:gd name="connsiteX10" fmla="*/ 9598459 w 9764451"/>
                <a:gd name="connsiteY10" fmla="*/ 3661945 h 4891005"/>
                <a:gd name="connsiteX11" fmla="*/ 9373875 w 9764451"/>
                <a:gd name="connsiteY11" fmla="*/ 3991969 h 4891005"/>
                <a:gd name="connsiteX12" fmla="*/ 8700129 w 9764451"/>
                <a:gd name="connsiteY12" fmla="*/ 4458557 h 4891005"/>
                <a:gd name="connsiteX13" fmla="*/ 7518631 w 9764451"/>
                <a:gd name="connsiteY13" fmla="*/ 4731685 h 4891005"/>
                <a:gd name="connsiteX14" fmla="*/ 5790322 w 9764451"/>
                <a:gd name="connsiteY14" fmla="*/ 4697541 h 4891005"/>
                <a:gd name="connsiteX15" fmla="*/ 3739787 w 9764451"/>
                <a:gd name="connsiteY15" fmla="*/ 3809885 h 4891005"/>
                <a:gd name="connsiteX16" fmla="*/ 0 w 9764451"/>
                <a:gd name="connsiteY16" fmla="*/ 805515 h 4891005"/>
                <a:gd name="connsiteX17" fmla="*/ 29294 w 9764451"/>
                <a:gd name="connsiteY17" fmla="*/ 1363144 h 4891005"/>
                <a:gd name="connsiteX18" fmla="*/ 3163683 w 9764451"/>
                <a:gd name="connsiteY18" fmla="*/ 3730224 h 4891005"/>
                <a:gd name="connsiteX19" fmla="*/ 4354948 w 9764451"/>
                <a:gd name="connsiteY19" fmla="*/ 4356136 h 4891005"/>
                <a:gd name="connsiteX20" fmla="*/ 6063725 w 9764451"/>
                <a:gd name="connsiteY20" fmla="*/ 4868241 h 4891005"/>
                <a:gd name="connsiteX21" fmla="*/ 7665095 w 9764451"/>
                <a:gd name="connsiteY21" fmla="*/ 4891005 h 4891005"/>
                <a:gd name="connsiteX22" fmla="*/ 8768479 w 9764451"/>
                <a:gd name="connsiteY22" fmla="*/ 4606503 h 4891005"/>
                <a:gd name="connsiteX23" fmla="*/ 9530104 w 9764451"/>
                <a:gd name="connsiteY23" fmla="*/ 4105775 h 4891005"/>
                <a:gd name="connsiteX24" fmla="*/ 9764451 w 9764451"/>
                <a:gd name="connsiteY24" fmla="*/ 3707469 h 4891005"/>
                <a:gd name="connsiteX25" fmla="*/ 9569165 w 9764451"/>
                <a:gd name="connsiteY25" fmla="*/ 2967758 h 4891005"/>
                <a:gd name="connsiteX26" fmla="*/ 8416115 w 9764451"/>
                <a:gd name="connsiteY26" fmla="*/ 2164752 h 4891005"/>
                <a:gd name="connsiteX27" fmla="*/ 2400307 w 9764451"/>
                <a:gd name="connsiteY27" fmla="*/ 209550 h 4891005"/>
                <a:gd name="connsiteX28" fmla="*/ 1466857 w 9764451"/>
                <a:gd name="connsiteY28" fmla="*/ 0 h 4891005"/>
                <a:gd name="connsiteX29" fmla="*/ 1390657 w 9764451"/>
                <a:gd name="connsiteY29" fmla="*/ 38100 h 4891005"/>
                <a:gd name="connsiteX0" fmla="*/ 1390657 w 9764451"/>
                <a:gd name="connsiteY0" fmla="*/ 38100 h 4891005"/>
                <a:gd name="connsiteX1" fmla="*/ 2095507 w 9764451"/>
                <a:gd name="connsiteY1" fmla="*/ 238125 h 4891005"/>
                <a:gd name="connsiteX2" fmla="*/ 1895482 w 9764451"/>
                <a:gd name="connsiteY2" fmla="*/ 295275 h 4891005"/>
                <a:gd name="connsiteX3" fmla="*/ 3771907 w 9764451"/>
                <a:gd name="connsiteY3" fmla="*/ 952500 h 4891005"/>
                <a:gd name="connsiteX4" fmla="*/ 2095507 w 9764451"/>
                <a:gd name="connsiteY4" fmla="*/ 1409700 h 4891005"/>
                <a:gd name="connsiteX5" fmla="*/ 2276482 w 9764451"/>
                <a:gd name="connsiteY5" fmla="*/ 1514475 h 4891005"/>
                <a:gd name="connsiteX6" fmla="*/ 2800357 w 9764451"/>
                <a:gd name="connsiteY6" fmla="*/ 1362075 h 4891005"/>
                <a:gd name="connsiteX7" fmla="*/ 3314707 w 9764451"/>
                <a:gd name="connsiteY7" fmla="*/ 1581150 h 4891005"/>
                <a:gd name="connsiteX8" fmla="*/ 4581532 w 9764451"/>
                <a:gd name="connsiteY8" fmla="*/ 1171575 h 4891005"/>
                <a:gd name="connsiteX9" fmla="*/ 7390664 w 9764451"/>
                <a:gd name="connsiteY9" fmla="*/ 2036606 h 4891005"/>
                <a:gd name="connsiteX10" fmla="*/ 9041884 w 9764451"/>
                <a:gd name="connsiteY10" fmla="*/ 3240877 h 4891005"/>
                <a:gd name="connsiteX11" fmla="*/ 9598459 w 9764451"/>
                <a:gd name="connsiteY11" fmla="*/ 3661945 h 4891005"/>
                <a:gd name="connsiteX12" fmla="*/ 9373875 w 9764451"/>
                <a:gd name="connsiteY12" fmla="*/ 3991969 h 4891005"/>
                <a:gd name="connsiteX13" fmla="*/ 8700129 w 9764451"/>
                <a:gd name="connsiteY13" fmla="*/ 4458557 h 4891005"/>
                <a:gd name="connsiteX14" fmla="*/ 7518631 w 9764451"/>
                <a:gd name="connsiteY14" fmla="*/ 4731685 h 4891005"/>
                <a:gd name="connsiteX15" fmla="*/ 5790322 w 9764451"/>
                <a:gd name="connsiteY15" fmla="*/ 4697541 h 4891005"/>
                <a:gd name="connsiteX16" fmla="*/ 3739787 w 9764451"/>
                <a:gd name="connsiteY16" fmla="*/ 3809885 h 4891005"/>
                <a:gd name="connsiteX17" fmla="*/ 0 w 9764451"/>
                <a:gd name="connsiteY17" fmla="*/ 805515 h 4891005"/>
                <a:gd name="connsiteX18" fmla="*/ 29294 w 9764451"/>
                <a:gd name="connsiteY18" fmla="*/ 1363144 h 4891005"/>
                <a:gd name="connsiteX19" fmla="*/ 3163683 w 9764451"/>
                <a:gd name="connsiteY19" fmla="*/ 3730224 h 4891005"/>
                <a:gd name="connsiteX20" fmla="*/ 4354948 w 9764451"/>
                <a:gd name="connsiteY20" fmla="*/ 4356136 h 4891005"/>
                <a:gd name="connsiteX21" fmla="*/ 6063725 w 9764451"/>
                <a:gd name="connsiteY21" fmla="*/ 4868241 h 4891005"/>
                <a:gd name="connsiteX22" fmla="*/ 7665095 w 9764451"/>
                <a:gd name="connsiteY22" fmla="*/ 4891005 h 4891005"/>
                <a:gd name="connsiteX23" fmla="*/ 8768479 w 9764451"/>
                <a:gd name="connsiteY23" fmla="*/ 4606503 h 4891005"/>
                <a:gd name="connsiteX24" fmla="*/ 9530104 w 9764451"/>
                <a:gd name="connsiteY24" fmla="*/ 4105775 h 4891005"/>
                <a:gd name="connsiteX25" fmla="*/ 9764451 w 9764451"/>
                <a:gd name="connsiteY25" fmla="*/ 3707469 h 4891005"/>
                <a:gd name="connsiteX26" fmla="*/ 9569165 w 9764451"/>
                <a:gd name="connsiteY26" fmla="*/ 2967758 h 4891005"/>
                <a:gd name="connsiteX27" fmla="*/ 8416115 w 9764451"/>
                <a:gd name="connsiteY27" fmla="*/ 2164752 h 4891005"/>
                <a:gd name="connsiteX28" fmla="*/ 2400307 w 9764451"/>
                <a:gd name="connsiteY28" fmla="*/ 209550 h 4891005"/>
                <a:gd name="connsiteX29" fmla="*/ 1466857 w 9764451"/>
                <a:gd name="connsiteY29" fmla="*/ 0 h 4891005"/>
                <a:gd name="connsiteX30" fmla="*/ 1390657 w 9764451"/>
                <a:gd name="connsiteY30" fmla="*/ 38100 h 4891005"/>
                <a:gd name="connsiteX0" fmla="*/ 1390657 w 9764451"/>
                <a:gd name="connsiteY0" fmla="*/ 38100 h 4891005"/>
                <a:gd name="connsiteX1" fmla="*/ 2095507 w 9764451"/>
                <a:gd name="connsiteY1" fmla="*/ 238125 h 4891005"/>
                <a:gd name="connsiteX2" fmla="*/ 1895482 w 9764451"/>
                <a:gd name="connsiteY2" fmla="*/ 295275 h 4891005"/>
                <a:gd name="connsiteX3" fmla="*/ 3771907 w 9764451"/>
                <a:gd name="connsiteY3" fmla="*/ 952500 h 4891005"/>
                <a:gd name="connsiteX4" fmla="*/ 2095507 w 9764451"/>
                <a:gd name="connsiteY4" fmla="*/ 1409700 h 4891005"/>
                <a:gd name="connsiteX5" fmla="*/ 2276482 w 9764451"/>
                <a:gd name="connsiteY5" fmla="*/ 1514475 h 4891005"/>
                <a:gd name="connsiteX6" fmla="*/ 2800357 w 9764451"/>
                <a:gd name="connsiteY6" fmla="*/ 1362075 h 4891005"/>
                <a:gd name="connsiteX7" fmla="*/ 3314707 w 9764451"/>
                <a:gd name="connsiteY7" fmla="*/ 1581150 h 4891005"/>
                <a:gd name="connsiteX8" fmla="*/ 4581532 w 9764451"/>
                <a:gd name="connsiteY8" fmla="*/ 1171575 h 4891005"/>
                <a:gd name="connsiteX9" fmla="*/ 7390664 w 9764451"/>
                <a:gd name="connsiteY9" fmla="*/ 2036606 h 4891005"/>
                <a:gd name="connsiteX10" fmla="*/ 9422698 w 9764451"/>
                <a:gd name="connsiteY10" fmla="*/ 2979133 h 4891005"/>
                <a:gd name="connsiteX11" fmla="*/ 9598459 w 9764451"/>
                <a:gd name="connsiteY11" fmla="*/ 3661945 h 4891005"/>
                <a:gd name="connsiteX12" fmla="*/ 9373875 w 9764451"/>
                <a:gd name="connsiteY12" fmla="*/ 3991969 h 4891005"/>
                <a:gd name="connsiteX13" fmla="*/ 8700129 w 9764451"/>
                <a:gd name="connsiteY13" fmla="*/ 4458557 h 4891005"/>
                <a:gd name="connsiteX14" fmla="*/ 7518631 w 9764451"/>
                <a:gd name="connsiteY14" fmla="*/ 4731685 h 4891005"/>
                <a:gd name="connsiteX15" fmla="*/ 5790322 w 9764451"/>
                <a:gd name="connsiteY15" fmla="*/ 4697541 h 4891005"/>
                <a:gd name="connsiteX16" fmla="*/ 3739787 w 9764451"/>
                <a:gd name="connsiteY16" fmla="*/ 3809885 h 4891005"/>
                <a:gd name="connsiteX17" fmla="*/ 0 w 9764451"/>
                <a:gd name="connsiteY17" fmla="*/ 805515 h 4891005"/>
                <a:gd name="connsiteX18" fmla="*/ 29294 w 9764451"/>
                <a:gd name="connsiteY18" fmla="*/ 1363144 h 4891005"/>
                <a:gd name="connsiteX19" fmla="*/ 3163683 w 9764451"/>
                <a:gd name="connsiteY19" fmla="*/ 3730224 h 4891005"/>
                <a:gd name="connsiteX20" fmla="*/ 4354948 w 9764451"/>
                <a:gd name="connsiteY20" fmla="*/ 4356136 h 4891005"/>
                <a:gd name="connsiteX21" fmla="*/ 6063725 w 9764451"/>
                <a:gd name="connsiteY21" fmla="*/ 4868241 h 4891005"/>
                <a:gd name="connsiteX22" fmla="*/ 7665095 w 9764451"/>
                <a:gd name="connsiteY22" fmla="*/ 4891005 h 4891005"/>
                <a:gd name="connsiteX23" fmla="*/ 8768479 w 9764451"/>
                <a:gd name="connsiteY23" fmla="*/ 4606503 h 4891005"/>
                <a:gd name="connsiteX24" fmla="*/ 9530104 w 9764451"/>
                <a:gd name="connsiteY24" fmla="*/ 4105775 h 4891005"/>
                <a:gd name="connsiteX25" fmla="*/ 9764451 w 9764451"/>
                <a:gd name="connsiteY25" fmla="*/ 3707469 h 4891005"/>
                <a:gd name="connsiteX26" fmla="*/ 9569165 w 9764451"/>
                <a:gd name="connsiteY26" fmla="*/ 2967758 h 4891005"/>
                <a:gd name="connsiteX27" fmla="*/ 8416115 w 9764451"/>
                <a:gd name="connsiteY27" fmla="*/ 2164752 h 4891005"/>
                <a:gd name="connsiteX28" fmla="*/ 2400307 w 9764451"/>
                <a:gd name="connsiteY28" fmla="*/ 209550 h 4891005"/>
                <a:gd name="connsiteX29" fmla="*/ 1466857 w 9764451"/>
                <a:gd name="connsiteY29" fmla="*/ 0 h 4891005"/>
                <a:gd name="connsiteX30" fmla="*/ 1390657 w 9764451"/>
                <a:gd name="connsiteY30" fmla="*/ 38100 h 4891005"/>
                <a:gd name="connsiteX0" fmla="*/ 1390657 w 9764451"/>
                <a:gd name="connsiteY0" fmla="*/ 38100 h 4891005"/>
                <a:gd name="connsiteX1" fmla="*/ 2095507 w 9764451"/>
                <a:gd name="connsiteY1" fmla="*/ 238125 h 4891005"/>
                <a:gd name="connsiteX2" fmla="*/ 1895482 w 9764451"/>
                <a:gd name="connsiteY2" fmla="*/ 295275 h 4891005"/>
                <a:gd name="connsiteX3" fmla="*/ 3771907 w 9764451"/>
                <a:gd name="connsiteY3" fmla="*/ 952500 h 4891005"/>
                <a:gd name="connsiteX4" fmla="*/ 2095507 w 9764451"/>
                <a:gd name="connsiteY4" fmla="*/ 1409700 h 4891005"/>
                <a:gd name="connsiteX5" fmla="*/ 2276482 w 9764451"/>
                <a:gd name="connsiteY5" fmla="*/ 1514475 h 4891005"/>
                <a:gd name="connsiteX6" fmla="*/ 2800357 w 9764451"/>
                <a:gd name="connsiteY6" fmla="*/ 1362075 h 4891005"/>
                <a:gd name="connsiteX7" fmla="*/ 3314707 w 9764451"/>
                <a:gd name="connsiteY7" fmla="*/ 1581150 h 4891005"/>
                <a:gd name="connsiteX8" fmla="*/ 4581532 w 9764451"/>
                <a:gd name="connsiteY8" fmla="*/ 1171575 h 4891005"/>
                <a:gd name="connsiteX9" fmla="*/ 7390664 w 9764451"/>
                <a:gd name="connsiteY9" fmla="*/ 2036606 h 4891005"/>
                <a:gd name="connsiteX10" fmla="*/ 9422698 w 9764451"/>
                <a:gd name="connsiteY10" fmla="*/ 2979133 h 4891005"/>
                <a:gd name="connsiteX11" fmla="*/ 8768479 w 9764451"/>
                <a:gd name="connsiteY11" fmla="*/ 2706009 h 4891005"/>
                <a:gd name="connsiteX12" fmla="*/ 9598459 w 9764451"/>
                <a:gd name="connsiteY12" fmla="*/ 3661945 h 4891005"/>
                <a:gd name="connsiteX13" fmla="*/ 9373875 w 9764451"/>
                <a:gd name="connsiteY13" fmla="*/ 3991969 h 4891005"/>
                <a:gd name="connsiteX14" fmla="*/ 8700129 w 9764451"/>
                <a:gd name="connsiteY14" fmla="*/ 4458557 h 4891005"/>
                <a:gd name="connsiteX15" fmla="*/ 7518631 w 9764451"/>
                <a:gd name="connsiteY15" fmla="*/ 4731685 h 4891005"/>
                <a:gd name="connsiteX16" fmla="*/ 5790322 w 9764451"/>
                <a:gd name="connsiteY16" fmla="*/ 4697541 h 4891005"/>
                <a:gd name="connsiteX17" fmla="*/ 3739787 w 9764451"/>
                <a:gd name="connsiteY17" fmla="*/ 3809885 h 4891005"/>
                <a:gd name="connsiteX18" fmla="*/ 0 w 9764451"/>
                <a:gd name="connsiteY18" fmla="*/ 805515 h 4891005"/>
                <a:gd name="connsiteX19" fmla="*/ 29294 w 9764451"/>
                <a:gd name="connsiteY19" fmla="*/ 1363144 h 4891005"/>
                <a:gd name="connsiteX20" fmla="*/ 3163683 w 9764451"/>
                <a:gd name="connsiteY20" fmla="*/ 3730224 h 4891005"/>
                <a:gd name="connsiteX21" fmla="*/ 4354948 w 9764451"/>
                <a:gd name="connsiteY21" fmla="*/ 4356136 h 4891005"/>
                <a:gd name="connsiteX22" fmla="*/ 6063725 w 9764451"/>
                <a:gd name="connsiteY22" fmla="*/ 4868241 h 4891005"/>
                <a:gd name="connsiteX23" fmla="*/ 7665095 w 9764451"/>
                <a:gd name="connsiteY23" fmla="*/ 4891005 h 4891005"/>
                <a:gd name="connsiteX24" fmla="*/ 8768479 w 9764451"/>
                <a:gd name="connsiteY24" fmla="*/ 4606503 h 4891005"/>
                <a:gd name="connsiteX25" fmla="*/ 9530104 w 9764451"/>
                <a:gd name="connsiteY25" fmla="*/ 4105775 h 4891005"/>
                <a:gd name="connsiteX26" fmla="*/ 9764451 w 9764451"/>
                <a:gd name="connsiteY26" fmla="*/ 3707469 h 4891005"/>
                <a:gd name="connsiteX27" fmla="*/ 9569165 w 9764451"/>
                <a:gd name="connsiteY27" fmla="*/ 2967758 h 4891005"/>
                <a:gd name="connsiteX28" fmla="*/ 8416115 w 9764451"/>
                <a:gd name="connsiteY28" fmla="*/ 2164752 h 4891005"/>
                <a:gd name="connsiteX29" fmla="*/ 2400307 w 9764451"/>
                <a:gd name="connsiteY29" fmla="*/ 209550 h 4891005"/>
                <a:gd name="connsiteX30" fmla="*/ 1466857 w 9764451"/>
                <a:gd name="connsiteY30" fmla="*/ 0 h 4891005"/>
                <a:gd name="connsiteX31" fmla="*/ 1390657 w 9764451"/>
                <a:gd name="connsiteY31" fmla="*/ 38100 h 4891005"/>
                <a:gd name="connsiteX0" fmla="*/ 1390657 w 9764451"/>
                <a:gd name="connsiteY0" fmla="*/ 38100 h 4891005"/>
                <a:gd name="connsiteX1" fmla="*/ 2095507 w 9764451"/>
                <a:gd name="connsiteY1" fmla="*/ 238125 h 4891005"/>
                <a:gd name="connsiteX2" fmla="*/ 1895482 w 9764451"/>
                <a:gd name="connsiteY2" fmla="*/ 295275 h 4891005"/>
                <a:gd name="connsiteX3" fmla="*/ 3771907 w 9764451"/>
                <a:gd name="connsiteY3" fmla="*/ 952500 h 4891005"/>
                <a:gd name="connsiteX4" fmla="*/ 2095507 w 9764451"/>
                <a:gd name="connsiteY4" fmla="*/ 1409700 h 4891005"/>
                <a:gd name="connsiteX5" fmla="*/ 2276482 w 9764451"/>
                <a:gd name="connsiteY5" fmla="*/ 1514475 h 4891005"/>
                <a:gd name="connsiteX6" fmla="*/ 2800357 w 9764451"/>
                <a:gd name="connsiteY6" fmla="*/ 1362075 h 4891005"/>
                <a:gd name="connsiteX7" fmla="*/ 3314707 w 9764451"/>
                <a:gd name="connsiteY7" fmla="*/ 1581150 h 4891005"/>
                <a:gd name="connsiteX8" fmla="*/ 4581532 w 9764451"/>
                <a:gd name="connsiteY8" fmla="*/ 1171575 h 4891005"/>
                <a:gd name="connsiteX9" fmla="*/ 7390664 w 9764451"/>
                <a:gd name="connsiteY9" fmla="*/ 2036606 h 4891005"/>
                <a:gd name="connsiteX10" fmla="*/ 9422698 w 9764451"/>
                <a:gd name="connsiteY10" fmla="*/ 2979133 h 4891005"/>
                <a:gd name="connsiteX11" fmla="*/ 9491048 w 9764451"/>
                <a:gd name="connsiteY11" fmla="*/ 3377440 h 4891005"/>
                <a:gd name="connsiteX12" fmla="*/ 9598459 w 9764451"/>
                <a:gd name="connsiteY12" fmla="*/ 3661945 h 4891005"/>
                <a:gd name="connsiteX13" fmla="*/ 9373875 w 9764451"/>
                <a:gd name="connsiteY13" fmla="*/ 3991969 h 4891005"/>
                <a:gd name="connsiteX14" fmla="*/ 8700129 w 9764451"/>
                <a:gd name="connsiteY14" fmla="*/ 4458557 h 4891005"/>
                <a:gd name="connsiteX15" fmla="*/ 7518631 w 9764451"/>
                <a:gd name="connsiteY15" fmla="*/ 4731685 h 4891005"/>
                <a:gd name="connsiteX16" fmla="*/ 5790322 w 9764451"/>
                <a:gd name="connsiteY16" fmla="*/ 4697541 h 4891005"/>
                <a:gd name="connsiteX17" fmla="*/ 3739787 w 9764451"/>
                <a:gd name="connsiteY17" fmla="*/ 3809885 h 4891005"/>
                <a:gd name="connsiteX18" fmla="*/ 0 w 9764451"/>
                <a:gd name="connsiteY18" fmla="*/ 805515 h 4891005"/>
                <a:gd name="connsiteX19" fmla="*/ 29294 w 9764451"/>
                <a:gd name="connsiteY19" fmla="*/ 1363144 h 4891005"/>
                <a:gd name="connsiteX20" fmla="*/ 3163683 w 9764451"/>
                <a:gd name="connsiteY20" fmla="*/ 3730224 h 4891005"/>
                <a:gd name="connsiteX21" fmla="*/ 4354948 w 9764451"/>
                <a:gd name="connsiteY21" fmla="*/ 4356136 h 4891005"/>
                <a:gd name="connsiteX22" fmla="*/ 6063725 w 9764451"/>
                <a:gd name="connsiteY22" fmla="*/ 4868241 h 4891005"/>
                <a:gd name="connsiteX23" fmla="*/ 7665095 w 9764451"/>
                <a:gd name="connsiteY23" fmla="*/ 4891005 h 4891005"/>
                <a:gd name="connsiteX24" fmla="*/ 8768479 w 9764451"/>
                <a:gd name="connsiteY24" fmla="*/ 4606503 h 4891005"/>
                <a:gd name="connsiteX25" fmla="*/ 9530104 w 9764451"/>
                <a:gd name="connsiteY25" fmla="*/ 4105775 h 4891005"/>
                <a:gd name="connsiteX26" fmla="*/ 9764451 w 9764451"/>
                <a:gd name="connsiteY26" fmla="*/ 3707469 h 4891005"/>
                <a:gd name="connsiteX27" fmla="*/ 9569165 w 9764451"/>
                <a:gd name="connsiteY27" fmla="*/ 2967758 h 4891005"/>
                <a:gd name="connsiteX28" fmla="*/ 8416115 w 9764451"/>
                <a:gd name="connsiteY28" fmla="*/ 2164752 h 4891005"/>
                <a:gd name="connsiteX29" fmla="*/ 2400307 w 9764451"/>
                <a:gd name="connsiteY29" fmla="*/ 209550 h 4891005"/>
                <a:gd name="connsiteX30" fmla="*/ 1466857 w 9764451"/>
                <a:gd name="connsiteY30" fmla="*/ 0 h 4891005"/>
                <a:gd name="connsiteX31" fmla="*/ 1390657 w 9764451"/>
                <a:gd name="connsiteY31" fmla="*/ 38100 h 4891005"/>
                <a:gd name="connsiteX0" fmla="*/ 1390657 w 9764451"/>
                <a:gd name="connsiteY0" fmla="*/ 38100 h 4891005"/>
                <a:gd name="connsiteX1" fmla="*/ 2095507 w 9764451"/>
                <a:gd name="connsiteY1" fmla="*/ 238125 h 4891005"/>
                <a:gd name="connsiteX2" fmla="*/ 1895482 w 9764451"/>
                <a:gd name="connsiteY2" fmla="*/ 295275 h 4891005"/>
                <a:gd name="connsiteX3" fmla="*/ 3771907 w 9764451"/>
                <a:gd name="connsiteY3" fmla="*/ 952500 h 4891005"/>
                <a:gd name="connsiteX4" fmla="*/ 2095507 w 9764451"/>
                <a:gd name="connsiteY4" fmla="*/ 1409700 h 4891005"/>
                <a:gd name="connsiteX5" fmla="*/ 2276482 w 9764451"/>
                <a:gd name="connsiteY5" fmla="*/ 1514475 h 4891005"/>
                <a:gd name="connsiteX6" fmla="*/ 2800357 w 9764451"/>
                <a:gd name="connsiteY6" fmla="*/ 1362075 h 4891005"/>
                <a:gd name="connsiteX7" fmla="*/ 3314707 w 9764451"/>
                <a:gd name="connsiteY7" fmla="*/ 1581150 h 4891005"/>
                <a:gd name="connsiteX8" fmla="*/ 4581532 w 9764451"/>
                <a:gd name="connsiteY8" fmla="*/ 1171575 h 4891005"/>
                <a:gd name="connsiteX9" fmla="*/ 7390664 w 9764451"/>
                <a:gd name="connsiteY9" fmla="*/ 2036606 h 4891005"/>
                <a:gd name="connsiteX10" fmla="*/ 8348609 w 9764451"/>
                <a:gd name="connsiteY10" fmla="*/ 2319080 h 4891005"/>
                <a:gd name="connsiteX11" fmla="*/ 9491048 w 9764451"/>
                <a:gd name="connsiteY11" fmla="*/ 3377440 h 4891005"/>
                <a:gd name="connsiteX12" fmla="*/ 9598459 w 9764451"/>
                <a:gd name="connsiteY12" fmla="*/ 3661945 h 4891005"/>
                <a:gd name="connsiteX13" fmla="*/ 9373875 w 9764451"/>
                <a:gd name="connsiteY13" fmla="*/ 3991969 h 4891005"/>
                <a:gd name="connsiteX14" fmla="*/ 8700129 w 9764451"/>
                <a:gd name="connsiteY14" fmla="*/ 4458557 h 4891005"/>
                <a:gd name="connsiteX15" fmla="*/ 7518631 w 9764451"/>
                <a:gd name="connsiteY15" fmla="*/ 4731685 h 4891005"/>
                <a:gd name="connsiteX16" fmla="*/ 5790322 w 9764451"/>
                <a:gd name="connsiteY16" fmla="*/ 4697541 h 4891005"/>
                <a:gd name="connsiteX17" fmla="*/ 3739787 w 9764451"/>
                <a:gd name="connsiteY17" fmla="*/ 3809885 h 4891005"/>
                <a:gd name="connsiteX18" fmla="*/ 0 w 9764451"/>
                <a:gd name="connsiteY18" fmla="*/ 805515 h 4891005"/>
                <a:gd name="connsiteX19" fmla="*/ 29294 w 9764451"/>
                <a:gd name="connsiteY19" fmla="*/ 1363144 h 4891005"/>
                <a:gd name="connsiteX20" fmla="*/ 3163683 w 9764451"/>
                <a:gd name="connsiteY20" fmla="*/ 3730224 h 4891005"/>
                <a:gd name="connsiteX21" fmla="*/ 4354948 w 9764451"/>
                <a:gd name="connsiteY21" fmla="*/ 4356136 h 4891005"/>
                <a:gd name="connsiteX22" fmla="*/ 6063725 w 9764451"/>
                <a:gd name="connsiteY22" fmla="*/ 4868241 h 4891005"/>
                <a:gd name="connsiteX23" fmla="*/ 7665095 w 9764451"/>
                <a:gd name="connsiteY23" fmla="*/ 4891005 h 4891005"/>
                <a:gd name="connsiteX24" fmla="*/ 8768479 w 9764451"/>
                <a:gd name="connsiteY24" fmla="*/ 4606503 h 4891005"/>
                <a:gd name="connsiteX25" fmla="*/ 9530104 w 9764451"/>
                <a:gd name="connsiteY25" fmla="*/ 4105775 h 4891005"/>
                <a:gd name="connsiteX26" fmla="*/ 9764451 w 9764451"/>
                <a:gd name="connsiteY26" fmla="*/ 3707469 h 4891005"/>
                <a:gd name="connsiteX27" fmla="*/ 9569165 w 9764451"/>
                <a:gd name="connsiteY27" fmla="*/ 2967758 h 4891005"/>
                <a:gd name="connsiteX28" fmla="*/ 8416115 w 9764451"/>
                <a:gd name="connsiteY28" fmla="*/ 2164752 h 4891005"/>
                <a:gd name="connsiteX29" fmla="*/ 2400307 w 9764451"/>
                <a:gd name="connsiteY29" fmla="*/ 209550 h 4891005"/>
                <a:gd name="connsiteX30" fmla="*/ 1466857 w 9764451"/>
                <a:gd name="connsiteY30" fmla="*/ 0 h 4891005"/>
                <a:gd name="connsiteX31" fmla="*/ 1390657 w 9764451"/>
                <a:gd name="connsiteY31" fmla="*/ 38100 h 4891005"/>
                <a:gd name="connsiteX0" fmla="*/ 1390657 w 9764451"/>
                <a:gd name="connsiteY0" fmla="*/ 38100 h 4891005"/>
                <a:gd name="connsiteX1" fmla="*/ 2095507 w 9764451"/>
                <a:gd name="connsiteY1" fmla="*/ 238125 h 4891005"/>
                <a:gd name="connsiteX2" fmla="*/ 1895482 w 9764451"/>
                <a:gd name="connsiteY2" fmla="*/ 295275 h 4891005"/>
                <a:gd name="connsiteX3" fmla="*/ 3771907 w 9764451"/>
                <a:gd name="connsiteY3" fmla="*/ 952500 h 4891005"/>
                <a:gd name="connsiteX4" fmla="*/ 2095507 w 9764451"/>
                <a:gd name="connsiteY4" fmla="*/ 1409700 h 4891005"/>
                <a:gd name="connsiteX5" fmla="*/ 2276482 w 9764451"/>
                <a:gd name="connsiteY5" fmla="*/ 1514475 h 4891005"/>
                <a:gd name="connsiteX6" fmla="*/ 2800357 w 9764451"/>
                <a:gd name="connsiteY6" fmla="*/ 1362075 h 4891005"/>
                <a:gd name="connsiteX7" fmla="*/ 3314707 w 9764451"/>
                <a:gd name="connsiteY7" fmla="*/ 1581150 h 4891005"/>
                <a:gd name="connsiteX8" fmla="*/ 4581532 w 9764451"/>
                <a:gd name="connsiteY8" fmla="*/ 1171575 h 4891005"/>
                <a:gd name="connsiteX9" fmla="*/ 7390664 w 9764451"/>
                <a:gd name="connsiteY9" fmla="*/ 2036606 h 4891005"/>
                <a:gd name="connsiteX10" fmla="*/ 8348609 w 9764451"/>
                <a:gd name="connsiteY10" fmla="*/ 2319080 h 4891005"/>
                <a:gd name="connsiteX11" fmla="*/ 9461757 w 9764451"/>
                <a:gd name="connsiteY11" fmla="*/ 3058794 h 4891005"/>
                <a:gd name="connsiteX12" fmla="*/ 9598459 w 9764451"/>
                <a:gd name="connsiteY12" fmla="*/ 3661945 h 4891005"/>
                <a:gd name="connsiteX13" fmla="*/ 9373875 w 9764451"/>
                <a:gd name="connsiteY13" fmla="*/ 3991969 h 4891005"/>
                <a:gd name="connsiteX14" fmla="*/ 8700129 w 9764451"/>
                <a:gd name="connsiteY14" fmla="*/ 4458557 h 4891005"/>
                <a:gd name="connsiteX15" fmla="*/ 7518631 w 9764451"/>
                <a:gd name="connsiteY15" fmla="*/ 4731685 h 4891005"/>
                <a:gd name="connsiteX16" fmla="*/ 5790322 w 9764451"/>
                <a:gd name="connsiteY16" fmla="*/ 4697541 h 4891005"/>
                <a:gd name="connsiteX17" fmla="*/ 3739787 w 9764451"/>
                <a:gd name="connsiteY17" fmla="*/ 3809885 h 4891005"/>
                <a:gd name="connsiteX18" fmla="*/ 0 w 9764451"/>
                <a:gd name="connsiteY18" fmla="*/ 805515 h 4891005"/>
                <a:gd name="connsiteX19" fmla="*/ 29294 w 9764451"/>
                <a:gd name="connsiteY19" fmla="*/ 1363144 h 4891005"/>
                <a:gd name="connsiteX20" fmla="*/ 3163683 w 9764451"/>
                <a:gd name="connsiteY20" fmla="*/ 3730224 h 4891005"/>
                <a:gd name="connsiteX21" fmla="*/ 4354948 w 9764451"/>
                <a:gd name="connsiteY21" fmla="*/ 4356136 h 4891005"/>
                <a:gd name="connsiteX22" fmla="*/ 6063725 w 9764451"/>
                <a:gd name="connsiteY22" fmla="*/ 4868241 h 4891005"/>
                <a:gd name="connsiteX23" fmla="*/ 7665095 w 9764451"/>
                <a:gd name="connsiteY23" fmla="*/ 4891005 h 4891005"/>
                <a:gd name="connsiteX24" fmla="*/ 8768479 w 9764451"/>
                <a:gd name="connsiteY24" fmla="*/ 4606503 h 4891005"/>
                <a:gd name="connsiteX25" fmla="*/ 9530104 w 9764451"/>
                <a:gd name="connsiteY25" fmla="*/ 4105775 h 4891005"/>
                <a:gd name="connsiteX26" fmla="*/ 9764451 w 9764451"/>
                <a:gd name="connsiteY26" fmla="*/ 3707469 h 4891005"/>
                <a:gd name="connsiteX27" fmla="*/ 9569165 w 9764451"/>
                <a:gd name="connsiteY27" fmla="*/ 2967758 h 4891005"/>
                <a:gd name="connsiteX28" fmla="*/ 8416115 w 9764451"/>
                <a:gd name="connsiteY28" fmla="*/ 2164752 h 4891005"/>
                <a:gd name="connsiteX29" fmla="*/ 2400307 w 9764451"/>
                <a:gd name="connsiteY29" fmla="*/ 209550 h 4891005"/>
                <a:gd name="connsiteX30" fmla="*/ 1466857 w 9764451"/>
                <a:gd name="connsiteY30" fmla="*/ 0 h 4891005"/>
                <a:gd name="connsiteX31" fmla="*/ 1390657 w 9764451"/>
                <a:gd name="connsiteY31" fmla="*/ 38100 h 4891005"/>
                <a:gd name="connsiteX0" fmla="*/ 1390657 w 9764451"/>
                <a:gd name="connsiteY0" fmla="*/ 2696603 h 7549508"/>
                <a:gd name="connsiteX1" fmla="*/ 2095507 w 9764451"/>
                <a:gd name="connsiteY1" fmla="*/ 2896628 h 7549508"/>
                <a:gd name="connsiteX2" fmla="*/ 1895482 w 9764451"/>
                <a:gd name="connsiteY2" fmla="*/ 2953778 h 7549508"/>
                <a:gd name="connsiteX3" fmla="*/ 3771907 w 9764451"/>
                <a:gd name="connsiteY3" fmla="*/ 3611003 h 7549508"/>
                <a:gd name="connsiteX4" fmla="*/ 2095507 w 9764451"/>
                <a:gd name="connsiteY4" fmla="*/ 4068203 h 7549508"/>
                <a:gd name="connsiteX5" fmla="*/ 2276482 w 9764451"/>
                <a:gd name="connsiteY5" fmla="*/ 4172978 h 7549508"/>
                <a:gd name="connsiteX6" fmla="*/ 2800357 w 9764451"/>
                <a:gd name="connsiteY6" fmla="*/ 4020578 h 7549508"/>
                <a:gd name="connsiteX7" fmla="*/ 3314707 w 9764451"/>
                <a:gd name="connsiteY7" fmla="*/ 4239653 h 7549508"/>
                <a:gd name="connsiteX8" fmla="*/ 4581532 w 9764451"/>
                <a:gd name="connsiteY8" fmla="*/ 3830078 h 7549508"/>
                <a:gd name="connsiteX9" fmla="*/ 7390664 w 9764451"/>
                <a:gd name="connsiteY9" fmla="*/ 4695109 h 7549508"/>
                <a:gd name="connsiteX10" fmla="*/ 8348609 w 9764451"/>
                <a:gd name="connsiteY10" fmla="*/ 4977583 h 7549508"/>
                <a:gd name="connsiteX11" fmla="*/ 9461757 w 9764451"/>
                <a:gd name="connsiteY11" fmla="*/ 5717297 h 7549508"/>
                <a:gd name="connsiteX12" fmla="*/ 9598459 w 9764451"/>
                <a:gd name="connsiteY12" fmla="*/ 6320448 h 7549508"/>
                <a:gd name="connsiteX13" fmla="*/ 9373875 w 9764451"/>
                <a:gd name="connsiteY13" fmla="*/ 6650472 h 7549508"/>
                <a:gd name="connsiteX14" fmla="*/ 8700129 w 9764451"/>
                <a:gd name="connsiteY14" fmla="*/ 7117060 h 7549508"/>
                <a:gd name="connsiteX15" fmla="*/ 7518631 w 9764451"/>
                <a:gd name="connsiteY15" fmla="*/ 7390188 h 7549508"/>
                <a:gd name="connsiteX16" fmla="*/ 5790322 w 9764451"/>
                <a:gd name="connsiteY16" fmla="*/ 7356044 h 7549508"/>
                <a:gd name="connsiteX17" fmla="*/ 3739787 w 9764451"/>
                <a:gd name="connsiteY17" fmla="*/ 6468388 h 7549508"/>
                <a:gd name="connsiteX18" fmla="*/ 0 w 9764451"/>
                <a:gd name="connsiteY18" fmla="*/ 3464018 h 7549508"/>
                <a:gd name="connsiteX19" fmla="*/ 29294 w 9764451"/>
                <a:gd name="connsiteY19" fmla="*/ 4021647 h 7549508"/>
                <a:gd name="connsiteX20" fmla="*/ 3163683 w 9764451"/>
                <a:gd name="connsiteY20" fmla="*/ 6388727 h 7549508"/>
                <a:gd name="connsiteX21" fmla="*/ 4354948 w 9764451"/>
                <a:gd name="connsiteY21" fmla="*/ 7014639 h 7549508"/>
                <a:gd name="connsiteX22" fmla="*/ 6063725 w 9764451"/>
                <a:gd name="connsiteY22" fmla="*/ 7526744 h 7549508"/>
                <a:gd name="connsiteX23" fmla="*/ 7665095 w 9764451"/>
                <a:gd name="connsiteY23" fmla="*/ 7549508 h 7549508"/>
                <a:gd name="connsiteX24" fmla="*/ 8768479 w 9764451"/>
                <a:gd name="connsiteY24" fmla="*/ 7265006 h 7549508"/>
                <a:gd name="connsiteX25" fmla="*/ 9530104 w 9764451"/>
                <a:gd name="connsiteY25" fmla="*/ 6764278 h 7549508"/>
                <a:gd name="connsiteX26" fmla="*/ 9764451 w 9764451"/>
                <a:gd name="connsiteY26" fmla="*/ 6365972 h 7549508"/>
                <a:gd name="connsiteX27" fmla="*/ 9569165 w 9764451"/>
                <a:gd name="connsiteY27" fmla="*/ 5626261 h 7549508"/>
                <a:gd name="connsiteX28" fmla="*/ 8416115 w 9764451"/>
                <a:gd name="connsiteY28" fmla="*/ 4823255 h 7549508"/>
                <a:gd name="connsiteX29" fmla="*/ 2400307 w 9764451"/>
                <a:gd name="connsiteY29" fmla="*/ 2868053 h 7549508"/>
                <a:gd name="connsiteX30" fmla="*/ 2614466 w 9764451"/>
                <a:gd name="connsiteY30" fmla="*/ 0 h 7549508"/>
                <a:gd name="connsiteX31" fmla="*/ 1390657 w 9764451"/>
                <a:gd name="connsiteY31" fmla="*/ 2696603 h 7549508"/>
                <a:gd name="connsiteX0" fmla="*/ 2538267 w 9764451"/>
                <a:gd name="connsiteY0" fmla="*/ 137176 h 7549508"/>
                <a:gd name="connsiteX1" fmla="*/ 2095507 w 9764451"/>
                <a:gd name="connsiteY1" fmla="*/ 2896628 h 7549508"/>
                <a:gd name="connsiteX2" fmla="*/ 1895482 w 9764451"/>
                <a:gd name="connsiteY2" fmla="*/ 2953778 h 7549508"/>
                <a:gd name="connsiteX3" fmla="*/ 3771907 w 9764451"/>
                <a:gd name="connsiteY3" fmla="*/ 3611003 h 7549508"/>
                <a:gd name="connsiteX4" fmla="*/ 2095507 w 9764451"/>
                <a:gd name="connsiteY4" fmla="*/ 4068203 h 7549508"/>
                <a:gd name="connsiteX5" fmla="*/ 2276482 w 9764451"/>
                <a:gd name="connsiteY5" fmla="*/ 4172978 h 7549508"/>
                <a:gd name="connsiteX6" fmla="*/ 2800357 w 9764451"/>
                <a:gd name="connsiteY6" fmla="*/ 4020578 h 7549508"/>
                <a:gd name="connsiteX7" fmla="*/ 3314707 w 9764451"/>
                <a:gd name="connsiteY7" fmla="*/ 4239653 h 7549508"/>
                <a:gd name="connsiteX8" fmla="*/ 4581532 w 9764451"/>
                <a:gd name="connsiteY8" fmla="*/ 3830078 h 7549508"/>
                <a:gd name="connsiteX9" fmla="*/ 7390664 w 9764451"/>
                <a:gd name="connsiteY9" fmla="*/ 4695109 h 7549508"/>
                <a:gd name="connsiteX10" fmla="*/ 8348609 w 9764451"/>
                <a:gd name="connsiteY10" fmla="*/ 4977583 h 7549508"/>
                <a:gd name="connsiteX11" fmla="*/ 9461757 w 9764451"/>
                <a:gd name="connsiteY11" fmla="*/ 5717297 h 7549508"/>
                <a:gd name="connsiteX12" fmla="*/ 9598459 w 9764451"/>
                <a:gd name="connsiteY12" fmla="*/ 6320448 h 7549508"/>
                <a:gd name="connsiteX13" fmla="*/ 9373875 w 9764451"/>
                <a:gd name="connsiteY13" fmla="*/ 6650472 h 7549508"/>
                <a:gd name="connsiteX14" fmla="*/ 8700129 w 9764451"/>
                <a:gd name="connsiteY14" fmla="*/ 7117060 h 7549508"/>
                <a:gd name="connsiteX15" fmla="*/ 7518631 w 9764451"/>
                <a:gd name="connsiteY15" fmla="*/ 7390188 h 7549508"/>
                <a:gd name="connsiteX16" fmla="*/ 5790322 w 9764451"/>
                <a:gd name="connsiteY16" fmla="*/ 7356044 h 7549508"/>
                <a:gd name="connsiteX17" fmla="*/ 3739787 w 9764451"/>
                <a:gd name="connsiteY17" fmla="*/ 6468388 h 7549508"/>
                <a:gd name="connsiteX18" fmla="*/ 0 w 9764451"/>
                <a:gd name="connsiteY18" fmla="*/ 3464018 h 7549508"/>
                <a:gd name="connsiteX19" fmla="*/ 29294 w 9764451"/>
                <a:gd name="connsiteY19" fmla="*/ 4021647 h 7549508"/>
                <a:gd name="connsiteX20" fmla="*/ 3163683 w 9764451"/>
                <a:gd name="connsiteY20" fmla="*/ 6388727 h 7549508"/>
                <a:gd name="connsiteX21" fmla="*/ 4354948 w 9764451"/>
                <a:gd name="connsiteY21" fmla="*/ 7014639 h 7549508"/>
                <a:gd name="connsiteX22" fmla="*/ 6063725 w 9764451"/>
                <a:gd name="connsiteY22" fmla="*/ 7526744 h 7549508"/>
                <a:gd name="connsiteX23" fmla="*/ 7665095 w 9764451"/>
                <a:gd name="connsiteY23" fmla="*/ 7549508 h 7549508"/>
                <a:gd name="connsiteX24" fmla="*/ 8768479 w 9764451"/>
                <a:gd name="connsiteY24" fmla="*/ 7265006 h 7549508"/>
                <a:gd name="connsiteX25" fmla="*/ 9530104 w 9764451"/>
                <a:gd name="connsiteY25" fmla="*/ 6764278 h 7549508"/>
                <a:gd name="connsiteX26" fmla="*/ 9764451 w 9764451"/>
                <a:gd name="connsiteY26" fmla="*/ 6365972 h 7549508"/>
                <a:gd name="connsiteX27" fmla="*/ 9569165 w 9764451"/>
                <a:gd name="connsiteY27" fmla="*/ 5626261 h 7549508"/>
                <a:gd name="connsiteX28" fmla="*/ 8416115 w 9764451"/>
                <a:gd name="connsiteY28" fmla="*/ 4823255 h 7549508"/>
                <a:gd name="connsiteX29" fmla="*/ 2400307 w 9764451"/>
                <a:gd name="connsiteY29" fmla="*/ 2868053 h 7549508"/>
                <a:gd name="connsiteX30" fmla="*/ 2614466 w 9764451"/>
                <a:gd name="connsiteY30" fmla="*/ 0 h 7549508"/>
                <a:gd name="connsiteX31" fmla="*/ 2538267 w 9764451"/>
                <a:gd name="connsiteY31" fmla="*/ 137176 h 7549508"/>
                <a:gd name="connsiteX0" fmla="*/ 2538267 w 9764451"/>
                <a:gd name="connsiteY0" fmla="*/ 137176 h 7549508"/>
                <a:gd name="connsiteX1" fmla="*/ 2095507 w 9764451"/>
                <a:gd name="connsiteY1" fmla="*/ 2896628 h 7549508"/>
                <a:gd name="connsiteX2" fmla="*/ 1895482 w 9764451"/>
                <a:gd name="connsiteY2" fmla="*/ 2953778 h 7549508"/>
                <a:gd name="connsiteX3" fmla="*/ 3771907 w 9764451"/>
                <a:gd name="connsiteY3" fmla="*/ 3611003 h 7549508"/>
                <a:gd name="connsiteX4" fmla="*/ 2095507 w 9764451"/>
                <a:gd name="connsiteY4" fmla="*/ 4068203 h 7549508"/>
                <a:gd name="connsiteX5" fmla="*/ 2276482 w 9764451"/>
                <a:gd name="connsiteY5" fmla="*/ 4172978 h 7549508"/>
                <a:gd name="connsiteX6" fmla="*/ 2800357 w 9764451"/>
                <a:gd name="connsiteY6" fmla="*/ 4020578 h 7549508"/>
                <a:gd name="connsiteX7" fmla="*/ 3314707 w 9764451"/>
                <a:gd name="connsiteY7" fmla="*/ 4239653 h 7549508"/>
                <a:gd name="connsiteX8" fmla="*/ 4581532 w 9764451"/>
                <a:gd name="connsiteY8" fmla="*/ 3830078 h 7549508"/>
                <a:gd name="connsiteX9" fmla="*/ 7390664 w 9764451"/>
                <a:gd name="connsiteY9" fmla="*/ 4695109 h 7549508"/>
                <a:gd name="connsiteX10" fmla="*/ 8348609 w 9764451"/>
                <a:gd name="connsiteY10" fmla="*/ 4977583 h 7549508"/>
                <a:gd name="connsiteX11" fmla="*/ 9461757 w 9764451"/>
                <a:gd name="connsiteY11" fmla="*/ 5717297 h 7549508"/>
                <a:gd name="connsiteX12" fmla="*/ 9598459 w 9764451"/>
                <a:gd name="connsiteY12" fmla="*/ 6320448 h 7549508"/>
                <a:gd name="connsiteX13" fmla="*/ 9373875 w 9764451"/>
                <a:gd name="connsiteY13" fmla="*/ 6650472 h 7549508"/>
                <a:gd name="connsiteX14" fmla="*/ 8700129 w 9764451"/>
                <a:gd name="connsiteY14" fmla="*/ 7117060 h 7549508"/>
                <a:gd name="connsiteX15" fmla="*/ 7518631 w 9764451"/>
                <a:gd name="connsiteY15" fmla="*/ 7390188 h 7549508"/>
                <a:gd name="connsiteX16" fmla="*/ 5790322 w 9764451"/>
                <a:gd name="connsiteY16" fmla="*/ 7356044 h 7549508"/>
                <a:gd name="connsiteX17" fmla="*/ 3739787 w 9764451"/>
                <a:gd name="connsiteY17" fmla="*/ 6468388 h 7549508"/>
                <a:gd name="connsiteX18" fmla="*/ 0 w 9764451"/>
                <a:gd name="connsiteY18" fmla="*/ 3464018 h 7549508"/>
                <a:gd name="connsiteX19" fmla="*/ 29294 w 9764451"/>
                <a:gd name="connsiteY19" fmla="*/ 4021647 h 7549508"/>
                <a:gd name="connsiteX20" fmla="*/ 3163683 w 9764451"/>
                <a:gd name="connsiteY20" fmla="*/ 6388727 h 7549508"/>
                <a:gd name="connsiteX21" fmla="*/ 4354948 w 9764451"/>
                <a:gd name="connsiteY21" fmla="*/ 7014639 h 7549508"/>
                <a:gd name="connsiteX22" fmla="*/ 6063725 w 9764451"/>
                <a:gd name="connsiteY22" fmla="*/ 7526744 h 7549508"/>
                <a:gd name="connsiteX23" fmla="*/ 7665095 w 9764451"/>
                <a:gd name="connsiteY23" fmla="*/ 7549508 h 7549508"/>
                <a:gd name="connsiteX24" fmla="*/ 8768479 w 9764451"/>
                <a:gd name="connsiteY24" fmla="*/ 7265006 h 7549508"/>
                <a:gd name="connsiteX25" fmla="*/ 9530104 w 9764451"/>
                <a:gd name="connsiteY25" fmla="*/ 6764278 h 7549508"/>
                <a:gd name="connsiteX26" fmla="*/ 9764451 w 9764451"/>
                <a:gd name="connsiteY26" fmla="*/ 6365972 h 7549508"/>
                <a:gd name="connsiteX27" fmla="*/ 9569165 w 9764451"/>
                <a:gd name="connsiteY27" fmla="*/ 5626261 h 7549508"/>
                <a:gd name="connsiteX28" fmla="*/ 8416115 w 9764451"/>
                <a:gd name="connsiteY28" fmla="*/ 4823255 h 7549508"/>
                <a:gd name="connsiteX29" fmla="*/ 3519581 w 9764451"/>
                <a:gd name="connsiteY29" fmla="*/ 556312 h 7549508"/>
                <a:gd name="connsiteX30" fmla="*/ 2614466 w 9764451"/>
                <a:gd name="connsiteY30" fmla="*/ 0 h 7549508"/>
                <a:gd name="connsiteX31" fmla="*/ 2538267 w 9764451"/>
                <a:gd name="connsiteY31" fmla="*/ 137176 h 7549508"/>
                <a:gd name="connsiteX0" fmla="*/ 2538267 w 9764451"/>
                <a:gd name="connsiteY0" fmla="*/ 137176 h 7549508"/>
                <a:gd name="connsiteX1" fmla="*/ 3285623 w 9764451"/>
                <a:gd name="connsiteY1" fmla="*/ 716986 h 7549508"/>
                <a:gd name="connsiteX2" fmla="*/ 1895482 w 9764451"/>
                <a:gd name="connsiteY2" fmla="*/ 2953778 h 7549508"/>
                <a:gd name="connsiteX3" fmla="*/ 3771907 w 9764451"/>
                <a:gd name="connsiteY3" fmla="*/ 3611003 h 7549508"/>
                <a:gd name="connsiteX4" fmla="*/ 2095507 w 9764451"/>
                <a:gd name="connsiteY4" fmla="*/ 4068203 h 7549508"/>
                <a:gd name="connsiteX5" fmla="*/ 2276482 w 9764451"/>
                <a:gd name="connsiteY5" fmla="*/ 4172978 h 7549508"/>
                <a:gd name="connsiteX6" fmla="*/ 2800357 w 9764451"/>
                <a:gd name="connsiteY6" fmla="*/ 4020578 h 7549508"/>
                <a:gd name="connsiteX7" fmla="*/ 3314707 w 9764451"/>
                <a:gd name="connsiteY7" fmla="*/ 4239653 h 7549508"/>
                <a:gd name="connsiteX8" fmla="*/ 4581532 w 9764451"/>
                <a:gd name="connsiteY8" fmla="*/ 3830078 h 7549508"/>
                <a:gd name="connsiteX9" fmla="*/ 7390664 w 9764451"/>
                <a:gd name="connsiteY9" fmla="*/ 4695109 h 7549508"/>
                <a:gd name="connsiteX10" fmla="*/ 8348609 w 9764451"/>
                <a:gd name="connsiteY10" fmla="*/ 4977583 h 7549508"/>
                <a:gd name="connsiteX11" fmla="*/ 9461757 w 9764451"/>
                <a:gd name="connsiteY11" fmla="*/ 5717297 h 7549508"/>
                <a:gd name="connsiteX12" fmla="*/ 9598459 w 9764451"/>
                <a:gd name="connsiteY12" fmla="*/ 6320448 h 7549508"/>
                <a:gd name="connsiteX13" fmla="*/ 9373875 w 9764451"/>
                <a:gd name="connsiteY13" fmla="*/ 6650472 h 7549508"/>
                <a:gd name="connsiteX14" fmla="*/ 8700129 w 9764451"/>
                <a:gd name="connsiteY14" fmla="*/ 7117060 h 7549508"/>
                <a:gd name="connsiteX15" fmla="*/ 7518631 w 9764451"/>
                <a:gd name="connsiteY15" fmla="*/ 7390188 h 7549508"/>
                <a:gd name="connsiteX16" fmla="*/ 5790322 w 9764451"/>
                <a:gd name="connsiteY16" fmla="*/ 7356044 h 7549508"/>
                <a:gd name="connsiteX17" fmla="*/ 3739787 w 9764451"/>
                <a:gd name="connsiteY17" fmla="*/ 6468388 h 7549508"/>
                <a:gd name="connsiteX18" fmla="*/ 0 w 9764451"/>
                <a:gd name="connsiteY18" fmla="*/ 3464018 h 7549508"/>
                <a:gd name="connsiteX19" fmla="*/ 29294 w 9764451"/>
                <a:gd name="connsiteY19" fmla="*/ 4021647 h 7549508"/>
                <a:gd name="connsiteX20" fmla="*/ 3163683 w 9764451"/>
                <a:gd name="connsiteY20" fmla="*/ 6388727 h 7549508"/>
                <a:gd name="connsiteX21" fmla="*/ 4354948 w 9764451"/>
                <a:gd name="connsiteY21" fmla="*/ 7014639 h 7549508"/>
                <a:gd name="connsiteX22" fmla="*/ 6063725 w 9764451"/>
                <a:gd name="connsiteY22" fmla="*/ 7526744 h 7549508"/>
                <a:gd name="connsiteX23" fmla="*/ 7665095 w 9764451"/>
                <a:gd name="connsiteY23" fmla="*/ 7549508 h 7549508"/>
                <a:gd name="connsiteX24" fmla="*/ 8768479 w 9764451"/>
                <a:gd name="connsiteY24" fmla="*/ 7265006 h 7549508"/>
                <a:gd name="connsiteX25" fmla="*/ 9530104 w 9764451"/>
                <a:gd name="connsiteY25" fmla="*/ 6764278 h 7549508"/>
                <a:gd name="connsiteX26" fmla="*/ 9764451 w 9764451"/>
                <a:gd name="connsiteY26" fmla="*/ 6365972 h 7549508"/>
                <a:gd name="connsiteX27" fmla="*/ 9569165 w 9764451"/>
                <a:gd name="connsiteY27" fmla="*/ 5626261 h 7549508"/>
                <a:gd name="connsiteX28" fmla="*/ 8416115 w 9764451"/>
                <a:gd name="connsiteY28" fmla="*/ 4823255 h 7549508"/>
                <a:gd name="connsiteX29" fmla="*/ 3519581 w 9764451"/>
                <a:gd name="connsiteY29" fmla="*/ 556312 h 7549508"/>
                <a:gd name="connsiteX30" fmla="*/ 2614466 w 9764451"/>
                <a:gd name="connsiteY30" fmla="*/ 0 h 7549508"/>
                <a:gd name="connsiteX31" fmla="*/ 2538267 w 9764451"/>
                <a:gd name="connsiteY31" fmla="*/ 137176 h 7549508"/>
                <a:gd name="connsiteX0" fmla="*/ 2538267 w 9764451"/>
                <a:gd name="connsiteY0" fmla="*/ 137176 h 7549508"/>
                <a:gd name="connsiteX1" fmla="*/ 3285623 w 9764451"/>
                <a:gd name="connsiteY1" fmla="*/ 716986 h 7549508"/>
                <a:gd name="connsiteX2" fmla="*/ 3028924 w 9764451"/>
                <a:gd name="connsiteY2" fmla="*/ 823675 h 7549508"/>
                <a:gd name="connsiteX3" fmla="*/ 3771907 w 9764451"/>
                <a:gd name="connsiteY3" fmla="*/ 3611003 h 7549508"/>
                <a:gd name="connsiteX4" fmla="*/ 2095507 w 9764451"/>
                <a:gd name="connsiteY4" fmla="*/ 4068203 h 7549508"/>
                <a:gd name="connsiteX5" fmla="*/ 2276482 w 9764451"/>
                <a:gd name="connsiteY5" fmla="*/ 4172978 h 7549508"/>
                <a:gd name="connsiteX6" fmla="*/ 2800357 w 9764451"/>
                <a:gd name="connsiteY6" fmla="*/ 4020578 h 7549508"/>
                <a:gd name="connsiteX7" fmla="*/ 3314707 w 9764451"/>
                <a:gd name="connsiteY7" fmla="*/ 4239653 h 7549508"/>
                <a:gd name="connsiteX8" fmla="*/ 4581532 w 9764451"/>
                <a:gd name="connsiteY8" fmla="*/ 3830078 h 7549508"/>
                <a:gd name="connsiteX9" fmla="*/ 7390664 w 9764451"/>
                <a:gd name="connsiteY9" fmla="*/ 4695109 h 7549508"/>
                <a:gd name="connsiteX10" fmla="*/ 8348609 w 9764451"/>
                <a:gd name="connsiteY10" fmla="*/ 4977583 h 7549508"/>
                <a:gd name="connsiteX11" fmla="*/ 9461757 w 9764451"/>
                <a:gd name="connsiteY11" fmla="*/ 5717297 h 7549508"/>
                <a:gd name="connsiteX12" fmla="*/ 9598459 w 9764451"/>
                <a:gd name="connsiteY12" fmla="*/ 6320448 h 7549508"/>
                <a:gd name="connsiteX13" fmla="*/ 9373875 w 9764451"/>
                <a:gd name="connsiteY13" fmla="*/ 6650472 h 7549508"/>
                <a:gd name="connsiteX14" fmla="*/ 8700129 w 9764451"/>
                <a:gd name="connsiteY14" fmla="*/ 7117060 h 7549508"/>
                <a:gd name="connsiteX15" fmla="*/ 7518631 w 9764451"/>
                <a:gd name="connsiteY15" fmla="*/ 7390188 h 7549508"/>
                <a:gd name="connsiteX16" fmla="*/ 5790322 w 9764451"/>
                <a:gd name="connsiteY16" fmla="*/ 7356044 h 7549508"/>
                <a:gd name="connsiteX17" fmla="*/ 3739787 w 9764451"/>
                <a:gd name="connsiteY17" fmla="*/ 6468388 h 7549508"/>
                <a:gd name="connsiteX18" fmla="*/ 0 w 9764451"/>
                <a:gd name="connsiteY18" fmla="*/ 3464018 h 7549508"/>
                <a:gd name="connsiteX19" fmla="*/ 29294 w 9764451"/>
                <a:gd name="connsiteY19" fmla="*/ 4021647 h 7549508"/>
                <a:gd name="connsiteX20" fmla="*/ 3163683 w 9764451"/>
                <a:gd name="connsiteY20" fmla="*/ 6388727 h 7549508"/>
                <a:gd name="connsiteX21" fmla="*/ 4354948 w 9764451"/>
                <a:gd name="connsiteY21" fmla="*/ 7014639 h 7549508"/>
                <a:gd name="connsiteX22" fmla="*/ 6063725 w 9764451"/>
                <a:gd name="connsiteY22" fmla="*/ 7526744 h 7549508"/>
                <a:gd name="connsiteX23" fmla="*/ 7665095 w 9764451"/>
                <a:gd name="connsiteY23" fmla="*/ 7549508 h 7549508"/>
                <a:gd name="connsiteX24" fmla="*/ 8768479 w 9764451"/>
                <a:gd name="connsiteY24" fmla="*/ 7265006 h 7549508"/>
                <a:gd name="connsiteX25" fmla="*/ 9530104 w 9764451"/>
                <a:gd name="connsiteY25" fmla="*/ 6764278 h 7549508"/>
                <a:gd name="connsiteX26" fmla="*/ 9764451 w 9764451"/>
                <a:gd name="connsiteY26" fmla="*/ 6365972 h 7549508"/>
                <a:gd name="connsiteX27" fmla="*/ 9569165 w 9764451"/>
                <a:gd name="connsiteY27" fmla="*/ 5626261 h 7549508"/>
                <a:gd name="connsiteX28" fmla="*/ 8416115 w 9764451"/>
                <a:gd name="connsiteY28" fmla="*/ 4823255 h 7549508"/>
                <a:gd name="connsiteX29" fmla="*/ 3519581 w 9764451"/>
                <a:gd name="connsiteY29" fmla="*/ 556312 h 7549508"/>
                <a:gd name="connsiteX30" fmla="*/ 2614466 w 9764451"/>
                <a:gd name="connsiteY30" fmla="*/ 0 h 7549508"/>
                <a:gd name="connsiteX31" fmla="*/ 2538267 w 9764451"/>
                <a:gd name="connsiteY31" fmla="*/ 137176 h 7549508"/>
                <a:gd name="connsiteX0" fmla="*/ 2538267 w 9764451"/>
                <a:gd name="connsiteY0" fmla="*/ 137176 h 7549508"/>
                <a:gd name="connsiteX1" fmla="*/ 3285623 w 9764451"/>
                <a:gd name="connsiteY1" fmla="*/ 716986 h 7549508"/>
                <a:gd name="connsiteX2" fmla="*/ 3028924 w 9764451"/>
                <a:gd name="connsiteY2" fmla="*/ 823675 h 7549508"/>
                <a:gd name="connsiteX3" fmla="*/ 4919517 w 9764451"/>
                <a:gd name="connsiteY3" fmla="*/ 2537695 h 7549508"/>
                <a:gd name="connsiteX4" fmla="*/ 2095507 w 9764451"/>
                <a:gd name="connsiteY4" fmla="*/ 4068203 h 7549508"/>
                <a:gd name="connsiteX5" fmla="*/ 2276482 w 9764451"/>
                <a:gd name="connsiteY5" fmla="*/ 4172978 h 7549508"/>
                <a:gd name="connsiteX6" fmla="*/ 2800357 w 9764451"/>
                <a:gd name="connsiteY6" fmla="*/ 4020578 h 7549508"/>
                <a:gd name="connsiteX7" fmla="*/ 3314707 w 9764451"/>
                <a:gd name="connsiteY7" fmla="*/ 4239653 h 7549508"/>
                <a:gd name="connsiteX8" fmla="*/ 4581532 w 9764451"/>
                <a:gd name="connsiteY8" fmla="*/ 3830078 h 7549508"/>
                <a:gd name="connsiteX9" fmla="*/ 7390664 w 9764451"/>
                <a:gd name="connsiteY9" fmla="*/ 4695109 h 7549508"/>
                <a:gd name="connsiteX10" fmla="*/ 8348609 w 9764451"/>
                <a:gd name="connsiteY10" fmla="*/ 4977583 h 7549508"/>
                <a:gd name="connsiteX11" fmla="*/ 9461757 w 9764451"/>
                <a:gd name="connsiteY11" fmla="*/ 5717297 h 7549508"/>
                <a:gd name="connsiteX12" fmla="*/ 9598459 w 9764451"/>
                <a:gd name="connsiteY12" fmla="*/ 6320448 h 7549508"/>
                <a:gd name="connsiteX13" fmla="*/ 9373875 w 9764451"/>
                <a:gd name="connsiteY13" fmla="*/ 6650472 h 7549508"/>
                <a:gd name="connsiteX14" fmla="*/ 8700129 w 9764451"/>
                <a:gd name="connsiteY14" fmla="*/ 7117060 h 7549508"/>
                <a:gd name="connsiteX15" fmla="*/ 7518631 w 9764451"/>
                <a:gd name="connsiteY15" fmla="*/ 7390188 h 7549508"/>
                <a:gd name="connsiteX16" fmla="*/ 5790322 w 9764451"/>
                <a:gd name="connsiteY16" fmla="*/ 7356044 h 7549508"/>
                <a:gd name="connsiteX17" fmla="*/ 3739787 w 9764451"/>
                <a:gd name="connsiteY17" fmla="*/ 6468388 h 7549508"/>
                <a:gd name="connsiteX18" fmla="*/ 0 w 9764451"/>
                <a:gd name="connsiteY18" fmla="*/ 3464018 h 7549508"/>
                <a:gd name="connsiteX19" fmla="*/ 29294 w 9764451"/>
                <a:gd name="connsiteY19" fmla="*/ 4021647 h 7549508"/>
                <a:gd name="connsiteX20" fmla="*/ 3163683 w 9764451"/>
                <a:gd name="connsiteY20" fmla="*/ 6388727 h 7549508"/>
                <a:gd name="connsiteX21" fmla="*/ 4354948 w 9764451"/>
                <a:gd name="connsiteY21" fmla="*/ 7014639 h 7549508"/>
                <a:gd name="connsiteX22" fmla="*/ 6063725 w 9764451"/>
                <a:gd name="connsiteY22" fmla="*/ 7526744 h 7549508"/>
                <a:gd name="connsiteX23" fmla="*/ 7665095 w 9764451"/>
                <a:gd name="connsiteY23" fmla="*/ 7549508 h 7549508"/>
                <a:gd name="connsiteX24" fmla="*/ 8768479 w 9764451"/>
                <a:gd name="connsiteY24" fmla="*/ 7265006 h 7549508"/>
                <a:gd name="connsiteX25" fmla="*/ 9530104 w 9764451"/>
                <a:gd name="connsiteY25" fmla="*/ 6764278 h 7549508"/>
                <a:gd name="connsiteX26" fmla="*/ 9764451 w 9764451"/>
                <a:gd name="connsiteY26" fmla="*/ 6365972 h 7549508"/>
                <a:gd name="connsiteX27" fmla="*/ 9569165 w 9764451"/>
                <a:gd name="connsiteY27" fmla="*/ 5626261 h 7549508"/>
                <a:gd name="connsiteX28" fmla="*/ 8416115 w 9764451"/>
                <a:gd name="connsiteY28" fmla="*/ 4823255 h 7549508"/>
                <a:gd name="connsiteX29" fmla="*/ 3519581 w 9764451"/>
                <a:gd name="connsiteY29" fmla="*/ 556312 h 7549508"/>
                <a:gd name="connsiteX30" fmla="*/ 2614466 w 9764451"/>
                <a:gd name="connsiteY30" fmla="*/ 0 h 7549508"/>
                <a:gd name="connsiteX31" fmla="*/ 2538267 w 9764451"/>
                <a:gd name="connsiteY31" fmla="*/ 137176 h 7549508"/>
                <a:gd name="connsiteX0" fmla="*/ 2538267 w 9764451"/>
                <a:gd name="connsiteY0" fmla="*/ 137176 h 7549508"/>
                <a:gd name="connsiteX1" fmla="*/ 3285623 w 9764451"/>
                <a:gd name="connsiteY1" fmla="*/ 716986 h 7549508"/>
                <a:gd name="connsiteX2" fmla="*/ 3028924 w 9764451"/>
                <a:gd name="connsiteY2" fmla="*/ 823675 h 7549508"/>
                <a:gd name="connsiteX3" fmla="*/ 4451971 w 9764451"/>
                <a:gd name="connsiteY3" fmla="*/ 2042322 h 7549508"/>
                <a:gd name="connsiteX4" fmla="*/ 2095507 w 9764451"/>
                <a:gd name="connsiteY4" fmla="*/ 4068203 h 7549508"/>
                <a:gd name="connsiteX5" fmla="*/ 2276482 w 9764451"/>
                <a:gd name="connsiteY5" fmla="*/ 4172978 h 7549508"/>
                <a:gd name="connsiteX6" fmla="*/ 2800357 w 9764451"/>
                <a:gd name="connsiteY6" fmla="*/ 4020578 h 7549508"/>
                <a:gd name="connsiteX7" fmla="*/ 3314707 w 9764451"/>
                <a:gd name="connsiteY7" fmla="*/ 4239653 h 7549508"/>
                <a:gd name="connsiteX8" fmla="*/ 4581532 w 9764451"/>
                <a:gd name="connsiteY8" fmla="*/ 3830078 h 7549508"/>
                <a:gd name="connsiteX9" fmla="*/ 7390664 w 9764451"/>
                <a:gd name="connsiteY9" fmla="*/ 4695109 h 7549508"/>
                <a:gd name="connsiteX10" fmla="*/ 8348609 w 9764451"/>
                <a:gd name="connsiteY10" fmla="*/ 4977583 h 7549508"/>
                <a:gd name="connsiteX11" fmla="*/ 9461757 w 9764451"/>
                <a:gd name="connsiteY11" fmla="*/ 5717297 h 7549508"/>
                <a:gd name="connsiteX12" fmla="*/ 9598459 w 9764451"/>
                <a:gd name="connsiteY12" fmla="*/ 6320448 h 7549508"/>
                <a:gd name="connsiteX13" fmla="*/ 9373875 w 9764451"/>
                <a:gd name="connsiteY13" fmla="*/ 6650472 h 7549508"/>
                <a:gd name="connsiteX14" fmla="*/ 8700129 w 9764451"/>
                <a:gd name="connsiteY14" fmla="*/ 7117060 h 7549508"/>
                <a:gd name="connsiteX15" fmla="*/ 7518631 w 9764451"/>
                <a:gd name="connsiteY15" fmla="*/ 7390188 h 7549508"/>
                <a:gd name="connsiteX16" fmla="*/ 5790322 w 9764451"/>
                <a:gd name="connsiteY16" fmla="*/ 7356044 h 7549508"/>
                <a:gd name="connsiteX17" fmla="*/ 3739787 w 9764451"/>
                <a:gd name="connsiteY17" fmla="*/ 6468388 h 7549508"/>
                <a:gd name="connsiteX18" fmla="*/ 0 w 9764451"/>
                <a:gd name="connsiteY18" fmla="*/ 3464018 h 7549508"/>
                <a:gd name="connsiteX19" fmla="*/ 29294 w 9764451"/>
                <a:gd name="connsiteY19" fmla="*/ 4021647 h 7549508"/>
                <a:gd name="connsiteX20" fmla="*/ 3163683 w 9764451"/>
                <a:gd name="connsiteY20" fmla="*/ 6388727 h 7549508"/>
                <a:gd name="connsiteX21" fmla="*/ 4354948 w 9764451"/>
                <a:gd name="connsiteY21" fmla="*/ 7014639 h 7549508"/>
                <a:gd name="connsiteX22" fmla="*/ 6063725 w 9764451"/>
                <a:gd name="connsiteY22" fmla="*/ 7526744 h 7549508"/>
                <a:gd name="connsiteX23" fmla="*/ 7665095 w 9764451"/>
                <a:gd name="connsiteY23" fmla="*/ 7549508 h 7549508"/>
                <a:gd name="connsiteX24" fmla="*/ 8768479 w 9764451"/>
                <a:gd name="connsiteY24" fmla="*/ 7265006 h 7549508"/>
                <a:gd name="connsiteX25" fmla="*/ 9530104 w 9764451"/>
                <a:gd name="connsiteY25" fmla="*/ 6764278 h 7549508"/>
                <a:gd name="connsiteX26" fmla="*/ 9764451 w 9764451"/>
                <a:gd name="connsiteY26" fmla="*/ 6365972 h 7549508"/>
                <a:gd name="connsiteX27" fmla="*/ 9569165 w 9764451"/>
                <a:gd name="connsiteY27" fmla="*/ 5626261 h 7549508"/>
                <a:gd name="connsiteX28" fmla="*/ 8416115 w 9764451"/>
                <a:gd name="connsiteY28" fmla="*/ 4823255 h 7549508"/>
                <a:gd name="connsiteX29" fmla="*/ 3519581 w 9764451"/>
                <a:gd name="connsiteY29" fmla="*/ 556312 h 7549508"/>
                <a:gd name="connsiteX30" fmla="*/ 2614466 w 9764451"/>
                <a:gd name="connsiteY30" fmla="*/ 0 h 7549508"/>
                <a:gd name="connsiteX31" fmla="*/ 2538267 w 9764451"/>
                <a:gd name="connsiteY31" fmla="*/ 137176 h 7549508"/>
                <a:gd name="connsiteX0" fmla="*/ 2538267 w 9764451"/>
                <a:gd name="connsiteY0" fmla="*/ 137176 h 7549508"/>
                <a:gd name="connsiteX1" fmla="*/ 3285623 w 9764451"/>
                <a:gd name="connsiteY1" fmla="*/ 716986 h 7549508"/>
                <a:gd name="connsiteX2" fmla="*/ 3028924 w 9764451"/>
                <a:gd name="connsiteY2" fmla="*/ 823675 h 7549508"/>
                <a:gd name="connsiteX3" fmla="*/ 4650322 w 9764451"/>
                <a:gd name="connsiteY3" fmla="*/ 2223959 h 7549508"/>
                <a:gd name="connsiteX4" fmla="*/ 2095507 w 9764451"/>
                <a:gd name="connsiteY4" fmla="*/ 4068203 h 7549508"/>
                <a:gd name="connsiteX5" fmla="*/ 2276482 w 9764451"/>
                <a:gd name="connsiteY5" fmla="*/ 4172978 h 7549508"/>
                <a:gd name="connsiteX6" fmla="*/ 2800357 w 9764451"/>
                <a:gd name="connsiteY6" fmla="*/ 4020578 h 7549508"/>
                <a:gd name="connsiteX7" fmla="*/ 3314707 w 9764451"/>
                <a:gd name="connsiteY7" fmla="*/ 4239653 h 7549508"/>
                <a:gd name="connsiteX8" fmla="*/ 4581532 w 9764451"/>
                <a:gd name="connsiteY8" fmla="*/ 3830078 h 7549508"/>
                <a:gd name="connsiteX9" fmla="*/ 7390664 w 9764451"/>
                <a:gd name="connsiteY9" fmla="*/ 4695109 h 7549508"/>
                <a:gd name="connsiteX10" fmla="*/ 8348609 w 9764451"/>
                <a:gd name="connsiteY10" fmla="*/ 4977583 h 7549508"/>
                <a:gd name="connsiteX11" fmla="*/ 9461757 w 9764451"/>
                <a:gd name="connsiteY11" fmla="*/ 5717297 h 7549508"/>
                <a:gd name="connsiteX12" fmla="*/ 9598459 w 9764451"/>
                <a:gd name="connsiteY12" fmla="*/ 6320448 h 7549508"/>
                <a:gd name="connsiteX13" fmla="*/ 9373875 w 9764451"/>
                <a:gd name="connsiteY13" fmla="*/ 6650472 h 7549508"/>
                <a:gd name="connsiteX14" fmla="*/ 8700129 w 9764451"/>
                <a:gd name="connsiteY14" fmla="*/ 7117060 h 7549508"/>
                <a:gd name="connsiteX15" fmla="*/ 7518631 w 9764451"/>
                <a:gd name="connsiteY15" fmla="*/ 7390188 h 7549508"/>
                <a:gd name="connsiteX16" fmla="*/ 5790322 w 9764451"/>
                <a:gd name="connsiteY16" fmla="*/ 7356044 h 7549508"/>
                <a:gd name="connsiteX17" fmla="*/ 3739787 w 9764451"/>
                <a:gd name="connsiteY17" fmla="*/ 6468388 h 7549508"/>
                <a:gd name="connsiteX18" fmla="*/ 0 w 9764451"/>
                <a:gd name="connsiteY18" fmla="*/ 3464018 h 7549508"/>
                <a:gd name="connsiteX19" fmla="*/ 29294 w 9764451"/>
                <a:gd name="connsiteY19" fmla="*/ 4021647 h 7549508"/>
                <a:gd name="connsiteX20" fmla="*/ 3163683 w 9764451"/>
                <a:gd name="connsiteY20" fmla="*/ 6388727 h 7549508"/>
                <a:gd name="connsiteX21" fmla="*/ 4354948 w 9764451"/>
                <a:gd name="connsiteY21" fmla="*/ 7014639 h 7549508"/>
                <a:gd name="connsiteX22" fmla="*/ 6063725 w 9764451"/>
                <a:gd name="connsiteY22" fmla="*/ 7526744 h 7549508"/>
                <a:gd name="connsiteX23" fmla="*/ 7665095 w 9764451"/>
                <a:gd name="connsiteY23" fmla="*/ 7549508 h 7549508"/>
                <a:gd name="connsiteX24" fmla="*/ 8768479 w 9764451"/>
                <a:gd name="connsiteY24" fmla="*/ 7265006 h 7549508"/>
                <a:gd name="connsiteX25" fmla="*/ 9530104 w 9764451"/>
                <a:gd name="connsiteY25" fmla="*/ 6764278 h 7549508"/>
                <a:gd name="connsiteX26" fmla="*/ 9764451 w 9764451"/>
                <a:gd name="connsiteY26" fmla="*/ 6365972 h 7549508"/>
                <a:gd name="connsiteX27" fmla="*/ 9569165 w 9764451"/>
                <a:gd name="connsiteY27" fmla="*/ 5626261 h 7549508"/>
                <a:gd name="connsiteX28" fmla="*/ 8416115 w 9764451"/>
                <a:gd name="connsiteY28" fmla="*/ 4823255 h 7549508"/>
                <a:gd name="connsiteX29" fmla="*/ 3519581 w 9764451"/>
                <a:gd name="connsiteY29" fmla="*/ 556312 h 7549508"/>
                <a:gd name="connsiteX30" fmla="*/ 2614466 w 9764451"/>
                <a:gd name="connsiteY30" fmla="*/ 0 h 7549508"/>
                <a:gd name="connsiteX31" fmla="*/ 2538267 w 9764451"/>
                <a:gd name="connsiteY31" fmla="*/ 137176 h 7549508"/>
                <a:gd name="connsiteX0" fmla="*/ 2538267 w 9764451"/>
                <a:gd name="connsiteY0" fmla="*/ 137176 h 7549508"/>
                <a:gd name="connsiteX1" fmla="*/ 3285623 w 9764451"/>
                <a:gd name="connsiteY1" fmla="*/ 716986 h 7549508"/>
                <a:gd name="connsiteX2" fmla="*/ 3028924 w 9764451"/>
                <a:gd name="connsiteY2" fmla="*/ 823675 h 7549508"/>
                <a:gd name="connsiteX3" fmla="*/ 4650322 w 9764451"/>
                <a:gd name="connsiteY3" fmla="*/ 2223959 h 7549508"/>
                <a:gd name="connsiteX4" fmla="*/ 2619724 w 9764451"/>
                <a:gd name="connsiteY4" fmla="*/ 3308632 h 7549508"/>
                <a:gd name="connsiteX5" fmla="*/ 2276482 w 9764451"/>
                <a:gd name="connsiteY5" fmla="*/ 4172978 h 7549508"/>
                <a:gd name="connsiteX6" fmla="*/ 2800357 w 9764451"/>
                <a:gd name="connsiteY6" fmla="*/ 4020578 h 7549508"/>
                <a:gd name="connsiteX7" fmla="*/ 3314707 w 9764451"/>
                <a:gd name="connsiteY7" fmla="*/ 4239653 h 7549508"/>
                <a:gd name="connsiteX8" fmla="*/ 4581532 w 9764451"/>
                <a:gd name="connsiteY8" fmla="*/ 3830078 h 7549508"/>
                <a:gd name="connsiteX9" fmla="*/ 7390664 w 9764451"/>
                <a:gd name="connsiteY9" fmla="*/ 4695109 h 7549508"/>
                <a:gd name="connsiteX10" fmla="*/ 8348609 w 9764451"/>
                <a:gd name="connsiteY10" fmla="*/ 4977583 h 7549508"/>
                <a:gd name="connsiteX11" fmla="*/ 9461757 w 9764451"/>
                <a:gd name="connsiteY11" fmla="*/ 5717297 h 7549508"/>
                <a:gd name="connsiteX12" fmla="*/ 9598459 w 9764451"/>
                <a:gd name="connsiteY12" fmla="*/ 6320448 h 7549508"/>
                <a:gd name="connsiteX13" fmla="*/ 9373875 w 9764451"/>
                <a:gd name="connsiteY13" fmla="*/ 6650472 h 7549508"/>
                <a:gd name="connsiteX14" fmla="*/ 8700129 w 9764451"/>
                <a:gd name="connsiteY14" fmla="*/ 7117060 h 7549508"/>
                <a:gd name="connsiteX15" fmla="*/ 7518631 w 9764451"/>
                <a:gd name="connsiteY15" fmla="*/ 7390188 h 7549508"/>
                <a:gd name="connsiteX16" fmla="*/ 5790322 w 9764451"/>
                <a:gd name="connsiteY16" fmla="*/ 7356044 h 7549508"/>
                <a:gd name="connsiteX17" fmla="*/ 3739787 w 9764451"/>
                <a:gd name="connsiteY17" fmla="*/ 6468388 h 7549508"/>
                <a:gd name="connsiteX18" fmla="*/ 0 w 9764451"/>
                <a:gd name="connsiteY18" fmla="*/ 3464018 h 7549508"/>
                <a:gd name="connsiteX19" fmla="*/ 29294 w 9764451"/>
                <a:gd name="connsiteY19" fmla="*/ 4021647 h 7549508"/>
                <a:gd name="connsiteX20" fmla="*/ 3163683 w 9764451"/>
                <a:gd name="connsiteY20" fmla="*/ 6388727 h 7549508"/>
                <a:gd name="connsiteX21" fmla="*/ 4354948 w 9764451"/>
                <a:gd name="connsiteY21" fmla="*/ 7014639 h 7549508"/>
                <a:gd name="connsiteX22" fmla="*/ 6063725 w 9764451"/>
                <a:gd name="connsiteY22" fmla="*/ 7526744 h 7549508"/>
                <a:gd name="connsiteX23" fmla="*/ 7665095 w 9764451"/>
                <a:gd name="connsiteY23" fmla="*/ 7549508 h 7549508"/>
                <a:gd name="connsiteX24" fmla="*/ 8768479 w 9764451"/>
                <a:gd name="connsiteY24" fmla="*/ 7265006 h 7549508"/>
                <a:gd name="connsiteX25" fmla="*/ 9530104 w 9764451"/>
                <a:gd name="connsiteY25" fmla="*/ 6764278 h 7549508"/>
                <a:gd name="connsiteX26" fmla="*/ 9764451 w 9764451"/>
                <a:gd name="connsiteY26" fmla="*/ 6365972 h 7549508"/>
                <a:gd name="connsiteX27" fmla="*/ 9569165 w 9764451"/>
                <a:gd name="connsiteY27" fmla="*/ 5626261 h 7549508"/>
                <a:gd name="connsiteX28" fmla="*/ 8416115 w 9764451"/>
                <a:gd name="connsiteY28" fmla="*/ 4823255 h 7549508"/>
                <a:gd name="connsiteX29" fmla="*/ 3519581 w 9764451"/>
                <a:gd name="connsiteY29" fmla="*/ 556312 h 7549508"/>
                <a:gd name="connsiteX30" fmla="*/ 2614466 w 9764451"/>
                <a:gd name="connsiteY30" fmla="*/ 0 h 7549508"/>
                <a:gd name="connsiteX31" fmla="*/ 2538267 w 9764451"/>
                <a:gd name="connsiteY31" fmla="*/ 137176 h 7549508"/>
                <a:gd name="connsiteX0" fmla="*/ 2538267 w 9764451"/>
                <a:gd name="connsiteY0" fmla="*/ 137176 h 7549508"/>
                <a:gd name="connsiteX1" fmla="*/ 3285623 w 9764451"/>
                <a:gd name="connsiteY1" fmla="*/ 716986 h 7549508"/>
                <a:gd name="connsiteX2" fmla="*/ 3028924 w 9764451"/>
                <a:gd name="connsiteY2" fmla="*/ 823675 h 7549508"/>
                <a:gd name="connsiteX3" fmla="*/ 4650322 w 9764451"/>
                <a:gd name="connsiteY3" fmla="*/ 2223959 h 7549508"/>
                <a:gd name="connsiteX4" fmla="*/ 4971619 w 9764451"/>
                <a:gd name="connsiteY4" fmla="*/ 2565573 h 7549508"/>
                <a:gd name="connsiteX5" fmla="*/ 2276482 w 9764451"/>
                <a:gd name="connsiteY5" fmla="*/ 4172978 h 7549508"/>
                <a:gd name="connsiteX6" fmla="*/ 2800357 w 9764451"/>
                <a:gd name="connsiteY6" fmla="*/ 4020578 h 7549508"/>
                <a:gd name="connsiteX7" fmla="*/ 3314707 w 9764451"/>
                <a:gd name="connsiteY7" fmla="*/ 4239653 h 7549508"/>
                <a:gd name="connsiteX8" fmla="*/ 4581532 w 9764451"/>
                <a:gd name="connsiteY8" fmla="*/ 3830078 h 7549508"/>
                <a:gd name="connsiteX9" fmla="*/ 7390664 w 9764451"/>
                <a:gd name="connsiteY9" fmla="*/ 4695109 h 7549508"/>
                <a:gd name="connsiteX10" fmla="*/ 8348609 w 9764451"/>
                <a:gd name="connsiteY10" fmla="*/ 4977583 h 7549508"/>
                <a:gd name="connsiteX11" fmla="*/ 9461757 w 9764451"/>
                <a:gd name="connsiteY11" fmla="*/ 5717297 h 7549508"/>
                <a:gd name="connsiteX12" fmla="*/ 9598459 w 9764451"/>
                <a:gd name="connsiteY12" fmla="*/ 6320448 h 7549508"/>
                <a:gd name="connsiteX13" fmla="*/ 9373875 w 9764451"/>
                <a:gd name="connsiteY13" fmla="*/ 6650472 h 7549508"/>
                <a:gd name="connsiteX14" fmla="*/ 8700129 w 9764451"/>
                <a:gd name="connsiteY14" fmla="*/ 7117060 h 7549508"/>
                <a:gd name="connsiteX15" fmla="*/ 7518631 w 9764451"/>
                <a:gd name="connsiteY15" fmla="*/ 7390188 h 7549508"/>
                <a:gd name="connsiteX16" fmla="*/ 5790322 w 9764451"/>
                <a:gd name="connsiteY16" fmla="*/ 7356044 h 7549508"/>
                <a:gd name="connsiteX17" fmla="*/ 3739787 w 9764451"/>
                <a:gd name="connsiteY17" fmla="*/ 6468388 h 7549508"/>
                <a:gd name="connsiteX18" fmla="*/ 0 w 9764451"/>
                <a:gd name="connsiteY18" fmla="*/ 3464018 h 7549508"/>
                <a:gd name="connsiteX19" fmla="*/ 29294 w 9764451"/>
                <a:gd name="connsiteY19" fmla="*/ 4021647 h 7549508"/>
                <a:gd name="connsiteX20" fmla="*/ 3163683 w 9764451"/>
                <a:gd name="connsiteY20" fmla="*/ 6388727 h 7549508"/>
                <a:gd name="connsiteX21" fmla="*/ 4354948 w 9764451"/>
                <a:gd name="connsiteY21" fmla="*/ 7014639 h 7549508"/>
                <a:gd name="connsiteX22" fmla="*/ 6063725 w 9764451"/>
                <a:gd name="connsiteY22" fmla="*/ 7526744 h 7549508"/>
                <a:gd name="connsiteX23" fmla="*/ 7665095 w 9764451"/>
                <a:gd name="connsiteY23" fmla="*/ 7549508 h 7549508"/>
                <a:gd name="connsiteX24" fmla="*/ 8768479 w 9764451"/>
                <a:gd name="connsiteY24" fmla="*/ 7265006 h 7549508"/>
                <a:gd name="connsiteX25" fmla="*/ 9530104 w 9764451"/>
                <a:gd name="connsiteY25" fmla="*/ 6764278 h 7549508"/>
                <a:gd name="connsiteX26" fmla="*/ 9764451 w 9764451"/>
                <a:gd name="connsiteY26" fmla="*/ 6365972 h 7549508"/>
                <a:gd name="connsiteX27" fmla="*/ 9569165 w 9764451"/>
                <a:gd name="connsiteY27" fmla="*/ 5626261 h 7549508"/>
                <a:gd name="connsiteX28" fmla="*/ 8416115 w 9764451"/>
                <a:gd name="connsiteY28" fmla="*/ 4823255 h 7549508"/>
                <a:gd name="connsiteX29" fmla="*/ 3519581 w 9764451"/>
                <a:gd name="connsiteY29" fmla="*/ 556312 h 7549508"/>
                <a:gd name="connsiteX30" fmla="*/ 2614466 w 9764451"/>
                <a:gd name="connsiteY30" fmla="*/ 0 h 7549508"/>
                <a:gd name="connsiteX31" fmla="*/ 2538267 w 9764451"/>
                <a:gd name="connsiteY31" fmla="*/ 137176 h 7549508"/>
                <a:gd name="connsiteX0" fmla="*/ 2538267 w 9764451"/>
                <a:gd name="connsiteY0" fmla="*/ 137176 h 7549508"/>
                <a:gd name="connsiteX1" fmla="*/ 3285623 w 9764451"/>
                <a:gd name="connsiteY1" fmla="*/ 716986 h 7549508"/>
                <a:gd name="connsiteX2" fmla="*/ 3028924 w 9764451"/>
                <a:gd name="connsiteY2" fmla="*/ 823675 h 7549508"/>
                <a:gd name="connsiteX3" fmla="*/ 4650322 w 9764451"/>
                <a:gd name="connsiteY3" fmla="*/ 2223959 h 7549508"/>
                <a:gd name="connsiteX4" fmla="*/ 4971619 w 9764451"/>
                <a:gd name="connsiteY4" fmla="*/ 2565573 h 7549508"/>
                <a:gd name="connsiteX5" fmla="*/ 2489003 w 9764451"/>
                <a:gd name="connsiteY5" fmla="*/ 3330843 h 7549508"/>
                <a:gd name="connsiteX6" fmla="*/ 2800357 w 9764451"/>
                <a:gd name="connsiteY6" fmla="*/ 4020578 h 7549508"/>
                <a:gd name="connsiteX7" fmla="*/ 3314707 w 9764451"/>
                <a:gd name="connsiteY7" fmla="*/ 4239653 h 7549508"/>
                <a:gd name="connsiteX8" fmla="*/ 4581532 w 9764451"/>
                <a:gd name="connsiteY8" fmla="*/ 3830078 h 7549508"/>
                <a:gd name="connsiteX9" fmla="*/ 7390664 w 9764451"/>
                <a:gd name="connsiteY9" fmla="*/ 4695109 h 7549508"/>
                <a:gd name="connsiteX10" fmla="*/ 8348609 w 9764451"/>
                <a:gd name="connsiteY10" fmla="*/ 4977583 h 7549508"/>
                <a:gd name="connsiteX11" fmla="*/ 9461757 w 9764451"/>
                <a:gd name="connsiteY11" fmla="*/ 5717297 h 7549508"/>
                <a:gd name="connsiteX12" fmla="*/ 9598459 w 9764451"/>
                <a:gd name="connsiteY12" fmla="*/ 6320448 h 7549508"/>
                <a:gd name="connsiteX13" fmla="*/ 9373875 w 9764451"/>
                <a:gd name="connsiteY13" fmla="*/ 6650472 h 7549508"/>
                <a:gd name="connsiteX14" fmla="*/ 8700129 w 9764451"/>
                <a:gd name="connsiteY14" fmla="*/ 7117060 h 7549508"/>
                <a:gd name="connsiteX15" fmla="*/ 7518631 w 9764451"/>
                <a:gd name="connsiteY15" fmla="*/ 7390188 h 7549508"/>
                <a:gd name="connsiteX16" fmla="*/ 5790322 w 9764451"/>
                <a:gd name="connsiteY16" fmla="*/ 7356044 h 7549508"/>
                <a:gd name="connsiteX17" fmla="*/ 3739787 w 9764451"/>
                <a:gd name="connsiteY17" fmla="*/ 6468388 h 7549508"/>
                <a:gd name="connsiteX18" fmla="*/ 0 w 9764451"/>
                <a:gd name="connsiteY18" fmla="*/ 3464018 h 7549508"/>
                <a:gd name="connsiteX19" fmla="*/ 29294 w 9764451"/>
                <a:gd name="connsiteY19" fmla="*/ 4021647 h 7549508"/>
                <a:gd name="connsiteX20" fmla="*/ 3163683 w 9764451"/>
                <a:gd name="connsiteY20" fmla="*/ 6388727 h 7549508"/>
                <a:gd name="connsiteX21" fmla="*/ 4354948 w 9764451"/>
                <a:gd name="connsiteY21" fmla="*/ 7014639 h 7549508"/>
                <a:gd name="connsiteX22" fmla="*/ 6063725 w 9764451"/>
                <a:gd name="connsiteY22" fmla="*/ 7526744 h 7549508"/>
                <a:gd name="connsiteX23" fmla="*/ 7665095 w 9764451"/>
                <a:gd name="connsiteY23" fmla="*/ 7549508 h 7549508"/>
                <a:gd name="connsiteX24" fmla="*/ 8768479 w 9764451"/>
                <a:gd name="connsiteY24" fmla="*/ 7265006 h 7549508"/>
                <a:gd name="connsiteX25" fmla="*/ 9530104 w 9764451"/>
                <a:gd name="connsiteY25" fmla="*/ 6764278 h 7549508"/>
                <a:gd name="connsiteX26" fmla="*/ 9764451 w 9764451"/>
                <a:gd name="connsiteY26" fmla="*/ 6365972 h 7549508"/>
                <a:gd name="connsiteX27" fmla="*/ 9569165 w 9764451"/>
                <a:gd name="connsiteY27" fmla="*/ 5626261 h 7549508"/>
                <a:gd name="connsiteX28" fmla="*/ 8416115 w 9764451"/>
                <a:gd name="connsiteY28" fmla="*/ 4823255 h 7549508"/>
                <a:gd name="connsiteX29" fmla="*/ 3519581 w 9764451"/>
                <a:gd name="connsiteY29" fmla="*/ 556312 h 7549508"/>
                <a:gd name="connsiteX30" fmla="*/ 2614466 w 9764451"/>
                <a:gd name="connsiteY30" fmla="*/ 0 h 7549508"/>
                <a:gd name="connsiteX31" fmla="*/ 2538267 w 9764451"/>
                <a:gd name="connsiteY31" fmla="*/ 137176 h 7549508"/>
                <a:gd name="connsiteX0" fmla="*/ 2538267 w 9764451"/>
                <a:gd name="connsiteY0" fmla="*/ 137176 h 7549508"/>
                <a:gd name="connsiteX1" fmla="*/ 3285623 w 9764451"/>
                <a:gd name="connsiteY1" fmla="*/ 716986 h 7549508"/>
                <a:gd name="connsiteX2" fmla="*/ 3028924 w 9764451"/>
                <a:gd name="connsiteY2" fmla="*/ 823675 h 7549508"/>
                <a:gd name="connsiteX3" fmla="*/ 4650322 w 9764451"/>
                <a:gd name="connsiteY3" fmla="*/ 2223959 h 7549508"/>
                <a:gd name="connsiteX4" fmla="*/ 4971619 w 9764451"/>
                <a:gd name="connsiteY4" fmla="*/ 2565573 h 7549508"/>
                <a:gd name="connsiteX5" fmla="*/ 2489003 w 9764451"/>
                <a:gd name="connsiteY5" fmla="*/ 3330843 h 7549508"/>
                <a:gd name="connsiteX6" fmla="*/ 2701179 w 9764451"/>
                <a:gd name="connsiteY6" fmla="*/ 3574742 h 7549508"/>
                <a:gd name="connsiteX7" fmla="*/ 3314707 w 9764451"/>
                <a:gd name="connsiteY7" fmla="*/ 4239653 h 7549508"/>
                <a:gd name="connsiteX8" fmla="*/ 4581532 w 9764451"/>
                <a:gd name="connsiteY8" fmla="*/ 3830078 h 7549508"/>
                <a:gd name="connsiteX9" fmla="*/ 7390664 w 9764451"/>
                <a:gd name="connsiteY9" fmla="*/ 4695109 h 7549508"/>
                <a:gd name="connsiteX10" fmla="*/ 8348609 w 9764451"/>
                <a:gd name="connsiteY10" fmla="*/ 4977583 h 7549508"/>
                <a:gd name="connsiteX11" fmla="*/ 9461757 w 9764451"/>
                <a:gd name="connsiteY11" fmla="*/ 5717297 h 7549508"/>
                <a:gd name="connsiteX12" fmla="*/ 9598459 w 9764451"/>
                <a:gd name="connsiteY12" fmla="*/ 6320448 h 7549508"/>
                <a:gd name="connsiteX13" fmla="*/ 9373875 w 9764451"/>
                <a:gd name="connsiteY13" fmla="*/ 6650472 h 7549508"/>
                <a:gd name="connsiteX14" fmla="*/ 8700129 w 9764451"/>
                <a:gd name="connsiteY14" fmla="*/ 7117060 h 7549508"/>
                <a:gd name="connsiteX15" fmla="*/ 7518631 w 9764451"/>
                <a:gd name="connsiteY15" fmla="*/ 7390188 h 7549508"/>
                <a:gd name="connsiteX16" fmla="*/ 5790322 w 9764451"/>
                <a:gd name="connsiteY16" fmla="*/ 7356044 h 7549508"/>
                <a:gd name="connsiteX17" fmla="*/ 3739787 w 9764451"/>
                <a:gd name="connsiteY17" fmla="*/ 6468388 h 7549508"/>
                <a:gd name="connsiteX18" fmla="*/ 0 w 9764451"/>
                <a:gd name="connsiteY18" fmla="*/ 3464018 h 7549508"/>
                <a:gd name="connsiteX19" fmla="*/ 29294 w 9764451"/>
                <a:gd name="connsiteY19" fmla="*/ 4021647 h 7549508"/>
                <a:gd name="connsiteX20" fmla="*/ 3163683 w 9764451"/>
                <a:gd name="connsiteY20" fmla="*/ 6388727 h 7549508"/>
                <a:gd name="connsiteX21" fmla="*/ 4354948 w 9764451"/>
                <a:gd name="connsiteY21" fmla="*/ 7014639 h 7549508"/>
                <a:gd name="connsiteX22" fmla="*/ 6063725 w 9764451"/>
                <a:gd name="connsiteY22" fmla="*/ 7526744 h 7549508"/>
                <a:gd name="connsiteX23" fmla="*/ 7665095 w 9764451"/>
                <a:gd name="connsiteY23" fmla="*/ 7549508 h 7549508"/>
                <a:gd name="connsiteX24" fmla="*/ 8768479 w 9764451"/>
                <a:gd name="connsiteY24" fmla="*/ 7265006 h 7549508"/>
                <a:gd name="connsiteX25" fmla="*/ 9530104 w 9764451"/>
                <a:gd name="connsiteY25" fmla="*/ 6764278 h 7549508"/>
                <a:gd name="connsiteX26" fmla="*/ 9764451 w 9764451"/>
                <a:gd name="connsiteY26" fmla="*/ 6365972 h 7549508"/>
                <a:gd name="connsiteX27" fmla="*/ 9569165 w 9764451"/>
                <a:gd name="connsiteY27" fmla="*/ 5626261 h 7549508"/>
                <a:gd name="connsiteX28" fmla="*/ 8416115 w 9764451"/>
                <a:gd name="connsiteY28" fmla="*/ 4823255 h 7549508"/>
                <a:gd name="connsiteX29" fmla="*/ 3519581 w 9764451"/>
                <a:gd name="connsiteY29" fmla="*/ 556312 h 7549508"/>
                <a:gd name="connsiteX30" fmla="*/ 2614466 w 9764451"/>
                <a:gd name="connsiteY30" fmla="*/ 0 h 7549508"/>
                <a:gd name="connsiteX31" fmla="*/ 2538267 w 9764451"/>
                <a:gd name="connsiteY31" fmla="*/ 137176 h 7549508"/>
                <a:gd name="connsiteX0" fmla="*/ 2538267 w 9764451"/>
                <a:gd name="connsiteY0" fmla="*/ 137176 h 7549508"/>
                <a:gd name="connsiteX1" fmla="*/ 3285623 w 9764451"/>
                <a:gd name="connsiteY1" fmla="*/ 716986 h 7549508"/>
                <a:gd name="connsiteX2" fmla="*/ 3028924 w 9764451"/>
                <a:gd name="connsiteY2" fmla="*/ 823675 h 7549508"/>
                <a:gd name="connsiteX3" fmla="*/ 4650322 w 9764451"/>
                <a:gd name="connsiteY3" fmla="*/ 2223959 h 7549508"/>
                <a:gd name="connsiteX4" fmla="*/ 4971619 w 9764451"/>
                <a:gd name="connsiteY4" fmla="*/ 2565573 h 7549508"/>
                <a:gd name="connsiteX5" fmla="*/ 2489003 w 9764451"/>
                <a:gd name="connsiteY5" fmla="*/ 3330843 h 7549508"/>
                <a:gd name="connsiteX6" fmla="*/ 2701179 w 9764451"/>
                <a:gd name="connsiteY6" fmla="*/ 3574742 h 7549508"/>
                <a:gd name="connsiteX7" fmla="*/ 3413882 w 9764451"/>
                <a:gd name="connsiteY7" fmla="*/ 3265417 h 7549508"/>
                <a:gd name="connsiteX8" fmla="*/ 4581532 w 9764451"/>
                <a:gd name="connsiteY8" fmla="*/ 3830078 h 7549508"/>
                <a:gd name="connsiteX9" fmla="*/ 7390664 w 9764451"/>
                <a:gd name="connsiteY9" fmla="*/ 4695109 h 7549508"/>
                <a:gd name="connsiteX10" fmla="*/ 8348609 w 9764451"/>
                <a:gd name="connsiteY10" fmla="*/ 4977583 h 7549508"/>
                <a:gd name="connsiteX11" fmla="*/ 9461757 w 9764451"/>
                <a:gd name="connsiteY11" fmla="*/ 5717297 h 7549508"/>
                <a:gd name="connsiteX12" fmla="*/ 9598459 w 9764451"/>
                <a:gd name="connsiteY12" fmla="*/ 6320448 h 7549508"/>
                <a:gd name="connsiteX13" fmla="*/ 9373875 w 9764451"/>
                <a:gd name="connsiteY13" fmla="*/ 6650472 h 7549508"/>
                <a:gd name="connsiteX14" fmla="*/ 8700129 w 9764451"/>
                <a:gd name="connsiteY14" fmla="*/ 7117060 h 7549508"/>
                <a:gd name="connsiteX15" fmla="*/ 7518631 w 9764451"/>
                <a:gd name="connsiteY15" fmla="*/ 7390188 h 7549508"/>
                <a:gd name="connsiteX16" fmla="*/ 5790322 w 9764451"/>
                <a:gd name="connsiteY16" fmla="*/ 7356044 h 7549508"/>
                <a:gd name="connsiteX17" fmla="*/ 3739787 w 9764451"/>
                <a:gd name="connsiteY17" fmla="*/ 6468388 h 7549508"/>
                <a:gd name="connsiteX18" fmla="*/ 0 w 9764451"/>
                <a:gd name="connsiteY18" fmla="*/ 3464018 h 7549508"/>
                <a:gd name="connsiteX19" fmla="*/ 29294 w 9764451"/>
                <a:gd name="connsiteY19" fmla="*/ 4021647 h 7549508"/>
                <a:gd name="connsiteX20" fmla="*/ 3163683 w 9764451"/>
                <a:gd name="connsiteY20" fmla="*/ 6388727 h 7549508"/>
                <a:gd name="connsiteX21" fmla="*/ 4354948 w 9764451"/>
                <a:gd name="connsiteY21" fmla="*/ 7014639 h 7549508"/>
                <a:gd name="connsiteX22" fmla="*/ 6063725 w 9764451"/>
                <a:gd name="connsiteY22" fmla="*/ 7526744 h 7549508"/>
                <a:gd name="connsiteX23" fmla="*/ 7665095 w 9764451"/>
                <a:gd name="connsiteY23" fmla="*/ 7549508 h 7549508"/>
                <a:gd name="connsiteX24" fmla="*/ 8768479 w 9764451"/>
                <a:gd name="connsiteY24" fmla="*/ 7265006 h 7549508"/>
                <a:gd name="connsiteX25" fmla="*/ 9530104 w 9764451"/>
                <a:gd name="connsiteY25" fmla="*/ 6764278 h 7549508"/>
                <a:gd name="connsiteX26" fmla="*/ 9764451 w 9764451"/>
                <a:gd name="connsiteY26" fmla="*/ 6365972 h 7549508"/>
                <a:gd name="connsiteX27" fmla="*/ 9569165 w 9764451"/>
                <a:gd name="connsiteY27" fmla="*/ 5626261 h 7549508"/>
                <a:gd name="connsiteX28" fmla="*/ 8416115 w 9764451"/>
                <a:gd name="connsiteY28" fmla="*/ 4823255 h 7549508"/>
                <a:gd name="connsiteX29" fmla="*/ 3519581 w 9764451"/>
                <a:gd name="connsiteY29" fmla="*/ 556312 h 7549508"/>
                <a:gd name="connsiteX30" fmla="*/ 2614466 w 9764451"/>
                <a:gd name="connsiteY30" fmla="*/ 0 h 7549508"/>
                <a:gd name="connsiteX31" fmla="*/ 2538267 w 9764451"/>
                <a:gd name="connsiteY31" fmla="*/ 137176 h 7549508"/>
                <a:gd name="connsiteX0" fmla="*/ 2538267 w 9764451"/>
                <a:gd name="connsiteY0" fmla="*/ 137176 h 7549508"/>
                <a:gd name="connsiteX1" fmla="*/ 3285623 w 9764451"/>
                <a:gd name="connsiteY1" fmla="*/ 716986 h 7549508"/>
                <a:gd name="connsiteX2" fmla="*/ 3028924 w 9764451"/>
                <a:gd name="connsiteY2" fmla="*/ 823675 h 7549508"/>
                <a:gd name="connsiteX3" fmla="*/ 4650322 w 9764451"/>
                <a:gd name="connsiteY3" fmla="*/ 2223959 h 7549508"/>
                <a:gd name="connsiteX4" fmla="*/ 4971619 w 9764451"/>
                <a:gd name="connsiteY4" fmla="*/ 2565573 h 7549508"/>
                <a:gd name="connsiteX5" fmla="*/ 2489003 w 9764451"/>
                <a:gd name="connsiteY5" fmla="*/ 3330843 h 7549508"/>
                <a:gd name="connsiteX6" fmla="*/ 2701179 w 9764451"/>
                <a:gd name="connsiteY6" fmla="*/ 3574742 h 7549508"/>
                <a:gd name="connsiteX7" fmla="*/ 3413882 w 9764451"/>
                <a:gd name="connsiteY7" fmla="*/ 3265417 h 7549508"/>
                <a:gd name="connsiteX8" fmla="*/ 3844794 w 9764451"/>
                <a:gd name="connsiteY8" fmla="*/ 3780540 h 7549508"/>
                <a:gd name="connsiteX9" fmla="*/ 7390664 w 9764451"/>
                <a:gd name="connsiteY9" fmla="*/ 4695109 h 7549508"/>
                <a:gd name="connsiteX10" fmla="*/ 8348609 w 9764451"/>
                <a:gd name="connsiteY10" fmla="*/ 4977583 h 7549508"/>
                <a:gd name="connsiteX11" fmla="*/ 9461757 w 9764451"/>
                <a:gd name="connsiteY11" fmla="*/ 5717297 h 7549508"/>
                <a:gd name="connsiteX12" fmla="*/ 9598459 w 9764451"/>
                <a:gd name="connsiteY12" fmla="*/ 6320448 h 7549508"/>
                <a:gd name="connsiteX13" fmla="*/ 9373875 w 9764451"/>
                <a:gd name="connsiteY13" fmla="*/ 6650472 h 7549508"/>
                <a:gd name="connsiteX14" fmla="*/ 8700129 w 9764451"/>
                <a:gd name="connsiteY14" fmla="*/ 7117060 h 7549508"/>
                <a:gd name="connsiteX15" fmla="*/ 7518631 w 9764451"/>
                <a:gd name="connsiteY15" fmla="*/ 7390188 h 7549508"/>
                <a:gd name="connsiteX16" fmla="*/ 5790322 w 9764451"/>
                <a:gd name="connsiteY16" fmla="*/ 7356044 h 7549508"/>
                <a:gd name="connsiteX17" fmla="*/ 3739787 w 9764451"/>
                <a:gd name="connsiteY17" fmla="*/ 6468388 h 7549508"/>
                <a:gd name="connsiteX18" fmla="*/ 0 w 9764451"/>
                <a:gd name="connsiteY18" fmla="*/ 3464018 h 7549508"/>
                <a:gd name="connsiteX19" fmla="*/ 29294 w 9764451"/>
                <a:gd name="connsiteY19" fmla="*/ 4021647 h 7549508"/>
                <a:gd name="connsiteX20" fmla="*/ 3163683 w 9764451"/>
                <a:gd name="connsiteY20" fmla="*/ 6388727 h 7549508"/>
                <a:gd name="connsiteX21" fmla="*/ 4354948 w 9764451"/>
                <a:gd name="connsiteY21" fmla="*/ 7014639 h 7549508"/>
                <a:gd name="connsiteX22" fmla="*/ 6063725 w 9764451"/>
                <a:gd name="connsiteY22" fmla="*/ 7526744 h 7549508"/>
                <a:gd name="connsiteX23" fmla="*/ 7665095 w 9764451"/>
                <a:gd name="connsiteY23" fmla="*/ 7549508 h 7549508"/>
                <a:gd name="connsiteX24" fmla="*/ 8768479 w 9764451"/>
                <a:gd name="connsiteY24" fmla="*/ 7265006 h 7549508"/>
                <a:gd name="connsiteX25" fmla="*/ 9530104 w 9764451"/>
                <a:gd name="connsiteY25" fmla="*/ 6764278 h 7549508"/>
                <a:gd name="connsiteX26" fmla="*/ 9764451 w 9764451"/>
                <a:gd name="connsiteY26" fmla="*/ 6365972 h 7549508"/>
                <a:gd name="connsiteX27" fmla="*/ 9569165 w 9764451"/>
                <a:gd name="connsiteY27" fmla="*/ 5626261 h 7549508"/>
                <a:gd name="connsiteX28" fmla="*/ 8416115 w 9764451"/>
                <a:gd name="connsiteY28" fmla="*/ 4823255 h 7549508"/>
                <a:gd name="connsiteX29" fmla="*/ 3519581 w 9764451"/>
                <a:gd name="connsiteY29" fmla="*/ 556312 h 7549508"/>
                <a:gd name="connsiteX30" fmla="*/ 2614466 w 9764451"/>
                <a:gd name="connsiteY30" fmla="*/ 0 h 7549508"/>
                <a:gd name="connsiteX31" fmla="*/ 2538267 w 9764451"/>
                <a:gd name="connsiteY31" fmla="*/ 137176 h 7549508"/>
                <a:gd name="connsiteX0" fmla="*/ 2538267 w 9764451"/>
                <a:gd name="connsiteY0" fmla="*/ 137176 h 7549508"/>
                <a:gd name="connsiteX1" fmla="*/ 3285623 w 9764451"/>
                <a:gd name="connsiteY1" fmla="*/ 716986 h 7549508"/>
                <a:gd name="connsiteX2" fmla="*/ 3028924 w 9764451"/>
                <a:gd name="connsiteY2" fmla="*/ 823675 h 7549508"/>
                <a:gd name="connsiteX3" fmla="*/ 4650322 w 9764451"/>
                <a:gd name="connsiteY3" fmla="*/ 2223959 h 7549508"/>
                <a:gd name="connsiteX4" fmla="*/ 4971619 w 9764451"/>
                <a:gd name="connsiteY4" fmla="*/ 2565573 h 7549508"/>
                <a:gd name="connsiteX5" fmla="*/ 2489003 w 9764451"/>
                <a:gd name="connsiteY5" fmla="*/ 3330843 h 7549508"/>
                <a:gd name="connsiteX6" fmla="*/ 2701179 w 9764451"/>
                <a:gd name="connsiteY6" fmla="*/ 3574742 h 7549508"/>
                <a:gd name="connsiteX7" fmla="*/ 3413882 w 9764451"/>
                <a:gd name="connsiteY7" fmla="*/ 3265417 h 7549508"/>
                <a:gd name="connsiteX8" fmla="*/ 3844794 w 9764451"/>
                <a:gd name="connsiteY8" fmla="*/ 3780540 h 7549508"/>
                <a:gd name="connsiteX9" fmla="*/ 4530508 w 9764451"/>
                <a:gd name="connsiteY9" fmla="*/ 3951456 h 7549508"/>
                <a:gd name="connsiteX10" fmla="*/ 7390664 w 9764451"/>
                <a:gd name="connsiteY10" fmla="*/ 4695109 h 7549508"/>
                <a:gd name="connsiteX11" fmla="*/ 8348609 w 9764451"/>
                <a:gd name="connsiteY11" fmla="*/ 4977583 h 7549508"/>
                <a:gd name="connsiteX12" fmla="*/ 9461757 w 9764451"/>
                <a:gd name="connsiteY12" fmla="*/ 5717297 h 7549508"/>
                <a:gd name="connsiteX13" fmla="*/ 9598459 w 9764451"/>
                <a:gd name="connsiteY13" fmla="*/ 6320448 h 7549508"/>
                <a:gd name="connsiteX14" fmla="*/ 9373875 w 9764451"/>
                <a:gd name="connsiteY14" fmla="*/ 6650472 h 7549508"/>
                <a:gd name="connsiteX15" fmla="*/ 8700129 w 9764451"/>
                <a:gd name="connsiteY15" fmla="*/ 7117060 h 7549508"/>
                <a:gd name="connsiteX16" fmla="*/ 7518631 w 9764451"/>
                <a:gd name="connsiteY16" fmla="*/ 7390188 h 7549508"/>
                <a:gd name="connsiteX17" fmla="*/ 5790322 w 9764451"/>
                <a:gd name="connsiteY17" fmla="*/ 7356044 h 7549508"/>
                <a:gd name="connsiteX18" fmla="*/ 3739787 w 9764451"/>
                <a:gd name="connsiteY18" fmla="*/ 6468388 h 7549508"/>
                <a:gd name="connsiteX19" fmla="*/ 0 w 9764451"/>
                <a:gd name="connsiteY19" fmla="*/ 3464018 h 7549508"/>
                <a:gd name="connsiteX20" fmla="*/ 29294 w 9764451"/>
                <a:gd name="connsiteY20" fmla="*/ 4021647 h 7549508"/>
                <a:gd name="connsiteX21" fmla="*/ 3163683 w 9764451"/>
                <a:gd name="connsiteY21" fmla="*/ 6388727 h 7549508"/>
                <a:gd name="connsiteX22" fmla="*/ 4354948 w 9764451"/>
                <a:gd name="connsiteY22" fmla="*/ 7014639 h 7549508"/>
                <a:gd name="connsiteX23" fmla="*/ 6063725 w 9764451"/>
                <a:gd name="connsiteY23" fmla="*/ 7526744 h 7549508"/>
                <a:gd name="connsiteX24" fmla="*/ 7665095 w 9764451"/>
                <a:gd name="connsiteY24" fmla="*/ 7549508 h 7549508"/>
                <a:gd name="connsiteX25" fmla="*/ 8768479 w 9764451"/>
                <a:gd name="connsiteY25" fmla="*/ 7265006 h 7549508"/>
                <a:gd name="connsiteX26" fmla="*/ 9530104 w 9764451"/>
                <a:gd name="connsiteY26" fmla="*/ 6764278 h 7549508"/>
                <a:gd name="connsiteX27" fmla="*/ 9764451 w 9764451"/>
                <a:gd name="connsiteY27" fmla="*/ 6365972 h 7549508"/>
                <a:gd name="connsiteX28" fmla="*/ 9569165 w 9764451"/>
                <a:gd name="connsiteY28" fmla="*/ 5626261 h 7549508"/>
                <a:gd name="connsiteX29" fmla="*/ 8416115 w 9764451"/>
                <a:gd name="connsiteY29" fmla="*/ 4823255 h 7549508"/>
                <a:gd name="connsiteX30" fmla="*/ 3519581 w 9764451"/>
                <a:gd name="connsiteY30" fmla="*/ 556312 h 7549508"/>
                <a:gd name="connsiteX31" fmla="*/ 2614466 w 9764451"/>
                <a:gd name="connsiteY31" fmla="*/ 0 h 7549508"/>
                <a:gd name="connsiteX32" fmla="*/ 2538267 w 9764451"/>
                <a:gd name="connsiteY32" fmla="*/ 137176 h 7549508"/>
                <a:gd name="connsiteX0" fmla="*/ 2538267 w 9764451"/>
                <a:gd name="connsiteY0" fmla="*/ 137176 h 7549508"/>
                <a:gd name="connsiteX1" fmla="*/ 3285623 w 9764451"/>
                <a:gd name="connsiteY1" fmla="*/ 716986 h 7549508"/>
                <a:gd name="connsiteX2" fmla="*/ 3028924 w 9764451"/>
                <a:gd name="connsiteY2" fmla="*/ 823675 h 7549508"/>
                <a:gd name="connsiteX3" fmla="*/ 4650322 w 9764451"/>
                <a:gd name="connsiteY3" fmla="*/ 2223959 h 7549508"/>
                <a:gd name="connsiteX4" fmla="*/ 4971619 w 9764451"/>
                <a:gd name="connsiteY4" fmla="*/ 2565573 h 7549508"/>
                <a:gd name="connsiteX5" fmla="*/ 2489003 w 9764451"/>
                <a:gd name="connsiteY5" fmla="*/ 3330843 h 7549508"/>
                <a:gd name="connsiteX6" fmla="*/ 2701179 w 9764451"/>
                <a:gd name="connsiteY6" fmla="*/ 3574742 h 7549508"/>
                <a:gd name="connsiteX7" fmla="*/ 3413882 w 9764451"/>
                <a:gd name="connsiteY7" fmla="*/ 3265417 h 7549508"/>
                <a:gd name="connsiteX8" fmla="*/ 3844794 w 9764451"/>
                <a:gd name="connsiteY8" fmla="*/ 3780540 h 7549508"/>
                <a:gd name="connsiteX9" fmla="*/ 5593111 w 9764451"/>
                <a:gd name="connsiteY9" fmla="*/ 3142346 h 7549508"/>
                <a:gd name="connsiteX10" fmla="*/ 7390664 w 9764451"/>
                <a:gd name="connsiteY10" fmla="*/ 4695109 h 7549508"/>
                <a:gd name="connsiteX11" fmla="*/ 8348609 w 9764451"/>
                <a:gd name="connsiteY11" fmla="*/ 4977583 h 7549508"/>
                <a:gd name="connsiteX12" fmla="*/ 9461757 w 9764451"/>
                <a:gd name="connsiteY12" fmla="*/ 5717297 h 7549508"/>
                <a:gd name="connsiteX13" fmla="*/ 9598459 w 9764451"/>
                <a:gd name="connsiteY13" fmla="*/ 6320448 h 7549508"/>
                <a:gd name="connsiteX14" fmla="*/ 9373875 w 9764451"/>
                <a:gd name="connsiteY14" fmla="*/ 6650472 h 7549508"/>
                <a:gd name="connsiteX15" fmla="*/ 8700129 w 9764451"/>
                <a:gd name="connsiteY15" fmla="*/ 7117060 h 7549508"/>
                <a:gd name="connsiteX16" fmla="*/ 7518631 w 9764451"/>
                <a:gd name="connsiteY16" fmla="*/ 7390188 h 7549508"/>
                <a:gd name="connsiteX17" fmla="*/ 5790322 w 9764451"/>
                <a:gd name="connsiteY17" fmla="*/ 7356044 h 7549508"/>
                <a:gd name="connsiteX18" fmla="*/ 3739787 w 9764451"/>
                <a:gd name="connsiteY18" fmla="*/ 6468388 h 7549508"/>
                <a:gd name="connsiteX19" fmla="*/ 0 w 9764451"/>
                <a:gd name="connsiteY19" fmla="*/ 3464018 h 7549508"/>
                <a:gd name="connsiteX20" fmla="*/ 29294 w 9764451"/>
                <a:gd name="connsiteY20" fmla="*/ 4021647 h 7549508"/>
                <a:gd name="connsiteX21" fmla="*/ 3163683 w 9764451"/>
                <a:gd name="connsiteY21" fmla="*/ 6388727 h 7549508"/>
                <a:gd name="connsiteX22" fmla="*/ 4354948 w 9764451"/>
                <a:gd name="connsiteY22" fmla="*/ 7014639 h 7549508"/>
                <a:gd name="connsiteX23" fmla="*/ 6063725 w 9764451"/>
                <a:gd name="connsiteY23" fmla="*/ 7526744 h 7549508"/>
                <a:gd name="connsiteX24" fmla="*/ 7665095 w 9764451"/>
                <a:gd name="connsiteY24" fmla="*/ 7549508 h 7549508"/>
                <a:gd name="connsiteX25" fmla="*/ 8768479 w 9764451"/>
                <a:gd name="connsiteY25" fmla="*/ 7265006 h 7549508"/>
                <a:gd name="connsiteX26" fmla="*/ 9530104 w 9764451"/>
                <a:gd name="connsiteY26" fmla="*/ 6764278 h 7549508"/>
                <a:gd name="connsiteX27" fmla="*/ 9764451 w 9764451"/>
                <a:gd name="connsiteY27" fmla="*/ 6365972 h 7549508"/>
                <a:gd name="connsiteX28" fmla="*/ 9569165 w 9764451"/>
                <a:gd name="connsiteY28" fmla="*/ 5626261 h 7549508"/>
                <a:gd name="connsiteX29" fmla="*/ 8416115 w 9764451"/>
                <a:gd name="connsiteY29" fmla="*/ 4823255 h 7549508"/>
                <a:gd name="connsiteX30" fmla="*/ 3519581 w 9764451"/>
                <a:gd name="connsiteY30" fmla="*/ 556312 h 7549508"/>
                <a:gd name="connsiteX31" fmla="*/ 2614466 w 9764451"/>
                <a:gd name="connsiteY31" fmla="*/ 0 h 7549508"/>
                <a:gd name="connsiteX32" fmla="*/ 2538267 w 9764451"/>
                <a:gd name="connsiteY32" fmla="*/ 137176 h 7549508"/>
                <a:gd name="connsiteX0" fmla="*/ 2538267 w 9764451"/>
                <a:gd name="connsiteY0" fmla="*/ 137176 h 7549508"/>
                <a:gd name="connsiteX1" fmla="*/ 3285623 w 9764451"/>
                <a:gd name="connsiteY1" fmla="*/ 716986 h 7549508"/>
                <a:gd name="connsiteX2" fmla="*/ 3028924 w 9764451"/>
                <a:gd name="connsiteY2" fmla="*/ 823675 h 7549508"/>
                <a:gd name="connsiteX3" fmla="*/ 4650322 w 9764451"/>
                <a:gd name="connsiteY3" fmla="*/ 2223959 h 7549508"/>
                <a:gd name="connsiteX4" fmla="*/ 4971619 w 9764451"/>
                <a:gd name="connsiteY4" fmla="*/ 2565573 h 7549508"/>
                <a:gd name="connsiteX5" fmla="*/ 2489003 w 9764451"/>
                <a:gd name="connsiteY5" fmla="*/ 3330843 h 7549508"/>
                <a:gd name="connsiteX6" fmla="*/ 2701179 w 9764451"/>
                <a:gd name="connsiteY6" fmla="*/ 3574742 h 7549508"/>
                <a:gd name="connsiteX7" fmla="*/ 3413882 w 9764451"/>
                <a:gd name="connsiteY7" fmla="*/ 3265417 h 7549508"/>
                <a:gd name="connsiteX8" fmla="*/ 3844794 w 9764451"/>
                <a:gd name="connsiteY8" fmla="*/ 3780540 h 7549508"/>
                <a:gd name="connsiteX9" fmla="*/ 5593111 w 9764451"/>
                <a:gd name="connsiteY9" fmla="*/ 3142346 h 7549508"/>
                <a:gd name="connsiteX10" fmla="*/ 6668094 w 9764451"/>
                <a:gd name="connsiteY10" fmla="*/ 4183225 h 7549508"/>
                <a:gd name="connsiteX11" fmla="*/ 8348609 w 9764451"/>
                <a:gd name="connsiteY11" fmla="*/ 4977583 h 7549508"/>
                <a:gd name="connsiteX12" fmla="*/ 9461757 w 9764451"/>
                <a:gd name="connsiteY12" fmla="*/ 5717297 h 7549508"/>
                <a:gd name="connsiteX13" fmla="*/ 9598459 w 9764451"/>
                <a:gd name="connsiteY13" fmla="*/ 6320448 h 7549508"/>
                <a:gd name="connsiteX14" fmla="*/ 9373875 w 9764451"/>
                <a:gd name="connsiteY14" fmla="*/ 6650472 h 7549508"/>
                <a:gd name="connsiteX15" fmla="*/ 8700129 w 9764451"/>
                <a:gd name="connsiteY15" fmla="*/ 7117060 h 7549508"/>
                <a:gd name="connsiteX16" fmla="*/ 7518631 w 9764451"/>
                <a:gd name="connsiteY16" fmla="*/ 7390188 h 7549508"/>
                <a:gd name="connsiteX17" fmla="*/ 5790322 w 9764451"/>
                <a:gd name="connsiteY17" fmla="*/ 7356044 h 7549508"/>
                <a:gd name="connsiteX18" fmla="*/ 3739787 w 9764451"/>
                <a:gd name="connsiteY18" fmla="*/ 6468388 h 7549508"/>
                <a:gd name="connsiteX19" fmla="*/ 0 w 9764451"/>
                <a:gd name="connsiteY19" fmla="*/ 3464018 h 7549508"/>
                <a:gd name="connsiteX20" fmla="*/ 29294 w 9764451"/>
                <a:gd name="connsiteY20" fmla="*/ 4021647 h 7549508"/>
                <a:gd name="connsiteX21" fmla="*/ 3163683 w 9764451"/>
                <a:gd name="connsiteY21" fmla="*/ 6388727 h 7549508"/>
                <a:gd name="connsiteX22" fmla="*/ 4354948 w 9764451"/>
                <a:gd name="connsiteY22" fmla="*/ 7014639 h 7549508"/>
                <a:gd name="connsiteX23" fmla="*/ 6063725 w 9764451"/>
                <a:gd name="connsiteY23" fmla="*/ 7526744 h 7549508"/>
                <a:gd name="connsiteX24" fmla="*/ 7665095 w 9764451"/>
                <a:gd name="connsiteY24" fmla="*/ 7549508 h 7549508"/>
                <a:gd name="connsiteX25" fmla="*/ 8768479 w 9764451"/>
                <a:gd name="connsiteY25" fmla="*/ 7265006 h 7549508"/>
                <a:gd name="connsiteX26" fmla="*/ 9530104 w 9764451"/>
                <a:gd name="connsiteY26" fmla="*/ 6764278 h 7549508"/>
                <a:gd name="connsiteX27" fmla="*/ 9764451 w 9764451"/>
                <a:gd name="connsiteY27" fmla="*/ 6365972 h 7549508"/>
                <a:gd name="connsiteX28" fmla="*/ 9569165 w 9764451"/>
                <a:gd name="connsiteY28" fmla="*/ 5626261 h 7549508"/>
                <a:gd name="connsiteX29" fmla="*/ 8416115 w 9764451"/>
                <a:gd name="connsiteY29" fmla="*/ 4823255 h 7549508"/>
                <a:gd name="connsiteX30" fmla="*/ 3519581 w 9764451"/>
                <a:gd name="connsiteY30" fmla="*/ 556312 h 7549508"/>
                <a:gd name="connsiteX31" fmla="*/ 2614466 w 9764451"/>
                <a:gd name="connsiteY31" fmla="*/ 0 h 7549508"/>
                <a:gd name="connsiteX32" fmla="*/ 2538267 w 9764451"/>
                <a:gd name="connsiteY32" fmla="*/ 137176 h 7549508"/>
                <a:gd name="connsiteX0" fmla="*/ 2538267 w 9764451"/>
                <a:gd name="connsiteY0" fmla="*/ 137176 h 7549508"/>
                <a:gd name="connsiteX1" fmla="*/ 3285623 w 9764451"/>
                <a:gd name="connsiteY1" fmla="*/ 716986 h 7549508"/>
                <a:gd name="connsiteX2" fmla="*/ 3028924 w 9764451"/>
                <a:gd name="connsiteY2" fmla="*/ 823675 h 7549508"/>
                <a:gd name="connsiteX3" fmla="*/ 4650322 w 9764451"/>
                <a:gd name="connsiteY3" fmla="*/ 2223959 h 7549508"/>
                <a:gd name="connsiteX4" fmla="*/ 4971619 w 9764451"/>
                <a:gd name="connsiteY4" fmla="*/ 2565573 h 7549508"/>
                <a:gd name="connsiteX5" fmla="*/ 2489003 w 9764451"/>
                <a:gd name="connsiteY5" fmla="*/ 3330843 h 7549508"/>
                <a:gd name="connsiteX6" fmla="*/ 2701179 w 9764451"/>
                <a:gd name="connsiteY6" fmla="*/ 3574742 h 7549508"/>
                <a:gd name="connsiteX7" fmla="*/ 3413882 w 9764451"/>
                <a:gd name="connsiteY7" fmla="*/ 3265417 h 7549508"/>
                <a:gd name="connsiteX8" fmla="*/ 3844794 w 9764451"/>
                <a:gd name="connsiteY8" fmla="*/ 3780540 h 7549508"/>
                <a:gd name="connsiteX9" fmla="*/ 5593111 w 9764451"/>
                <a:gd name="connsiteY9" fmla="*/ 3142346 h 7549508"/>
                <a:gd name="connsiteX10" fmla="*/ 6668094 w 9764451"/>
                <a:gd name="connsiteY10" fmla="*/ 4183225 h 7549508"/>
                <a:gd name="connsiteX11" fmla="*/ 7477457 w 9764451"/>
                <a:gd name="connsiteY11" fmla="*/ 4545904 h 7549508"/>
                <a:gd name="connsiteX12" fmla="*/ 8348609 w 9764451"/>
                <a:gd name="connsiteY12" fmla="*/ 4977583 h 7549508"/>
                <a:gd name="connsiteX13" fmla="*/ 9461757 w 9764451"/>
                <a:gd name="connsiteY13" fmla="*/ 5717297 h 7549508"/>
                <a:gd name="connsiteX14" fmla="*/ 9598459 w 9764451"/>
                <a:gd name="connsiteY14" fmla="*/ 6320448 h 7549508"/>
                <a:gd name="connsiteX15" fmla="*/ 9373875 w 9764451"/>
                <a:gd name="connsiteY15" fmla="*/ 6650472 h 7549508"/>
                <a:gd name="connsiteX16" fmla="*/ 8700129 w 9764451"/>
                <a:gd name="connsiteY16" fmla="*/ 7117060 h 7549508"/>
                <a:gd name="connsiteX17" fmla="*/ 7518631 w 9764451"/>
                <a:gd name="connsiteY17" fmla="*/ 7390188 h 7549508"/>
                <a:gd name="connsiteX18" fmla="*/ 5790322 w 9764451"/>
                <a:gd name="connsiteY18" fmla="*/ 7356044 h 7549508"/>
                <a:gd name="connsiteX19" fmla="*/ 3739787 w 9764451"/>
                <a:gd name="connsiteY19" fmla="*/ 6468388 h 7549508"/>
                <a:gd name="connsiteX20" fmla="*/ 0 w 9764451"/>
                <a:gd name="connsiteY20" fmla="*/ 3464018 h 7549508"/>
                <a:gd name="connsiteX21" fmla="*/ 29294 w 9764451"/>
                <a:gd name="connsiteY21" fmla="*/ 4021647 h 7549508"/>
                <a:gd name="connsiteX22" fmla="*/ 3163683 w 9764451"/>
                <a:gd name="connsiteY22" fmla="*/ 6388727 h 7549508"/>
                <a:gd name="connsiteX23" fmla="*/ 4354948 w 9764451"/>
                <a:gd name="connsiteY23" fmla="*/ 7014639 h 7549508"/>
                <a:gd name="connsiteX24" fmla="*/ 6063725 w 9764451"/>
                <a:gd name="connsiteY24" fmla="*/ 7526744 h 7549508"/>
                <a:gd name="connsiteX25" fmla="*/ 7665095 w 9764451"/>
                <a:gd name="connsiteY25" fmla="*/ 7549508 h 7549508"/>
                <a:gd name="connsiteX26" fmla="*/ 8768479 w 9764451"/>
                <a:gd name="connsiteY26" fmla="*/ 7265006 h 7549508"/>
                <a:gd name="connsiteX27" fmla="*/ 9530104 w 9764451"/>
                <a:gd name="connsiteY27" fmla="*/ 6764278 h 7549508"/>
                <a:gd name="connsiteX28" fmla="*/ 9764451 w 9764451"/>
                <a:gd name="connsiteY28" fmla="*/ 6365972 h 7549508"/>
                <a:gd name="connsiteX29" fmla="*/ 9569165 w 9764451"/>
                <a:gd name="connsiteY29" fmla="*/ 5626261 h 7549508"/>
                <a:gd name="connsiteX30" fmla="*/ 8416115 w 9764451"/>
                <a:gd name="connsiteY30" fmla="*/ 4823255 h 7549508"/>
                <a:gd name="connsiteX31" fmla="*/ 3519581 w 9764451"/>
                <a:gd name="connsiteY31" fmla="*/ 556312 h 7549508"/>
                <a:gd name="connsiteX32" fmla="*/ 2614466 w 9764451"/>
                <a:gd name="connsiteY32" fmla="*/ 0 h 7549508"/>
                <a:gd name="connsiteX33" fmla="*/ 2538267 w 9764451"/>
                <a:gd name="connsiteY33" fmla="*/ 137176 h 7549508"/>
                <a:gd name="connsiteX0" fmla="*/ 2538267 w 9764451"/>
                <a:gd name="connsiteY0" fmla="*/ 137176 h 7549508"/>
                <a:gd name="connsiteX1" fmla="*/ 3285623 w 9764451"/>
                <a:gd name="connsiteY1" fmla="*/ 716986 h 7549508"/>
                <a:gd name="connsiteX2" fmla="*/ 3028924 w 9764451"/>
                <a:gd name="connsiteY2" fmla="*/ 823675 h 7549508"/>
                <a:gd name="connsiteX3" fmla="*/ 4650322 w 9764451"/>
                <a:gd name="connsiteY3" fmla="*/ 2223959 h 7549508"/>
                <a:gd name="connsiteX4" fmla="*/ 4971619 w 9764451"/>
                <a:gd name="connsiteY4" fmla="*/ 2565573 h 7549508"/>
                <a:gd name="connsiteX5" fmla="*/ 2489003 w 9764451"/>
                <a:gd name="connsiteY5" fmla="*/ 3330843 h 7549508"/>
                <a:gd name="connsiteX6" fmla="*/ 2701179 w 9764451"/>
                <a:gd name="connsiteY6" fmla="*/ 3574742 h 7549508"/>
                <a:gd name="connsiteX7" fmla="*/ 3413882 w 9764451"/>
                <a:gd name="connsiteY7" fmla="*/ 3265417 h 7549508"/>
                <a:gd name="connsiteX8" fmla="*/ 3844794 w 9764451"/>
                <a:gd name="connsiteY8" fmla="*/ 3780540 h 7549508"/>
                <a:gd name="connsiteX9" fmla="*/ 5593111 w 9764451"/>
                <a:gd name="connsiteY9" fmla="*/ 3142346 h 7549508"/>
                <a:gd name="connsiteX10" fmla="*/ 6668094 w 9764451"/>
                <a:gd name="connsiteY10" fmla="*/ 4183225 h 7549508"/>
                <a:gd name="connsiteX11" fmla="*/ 7109089 w 9764451"/>
                <a:gd name="connsiteY11" fmla="*/ 4050528 h 7549508"/>
                <a:gd name="connsiteX12" fmla="*/ 8348609 w 9764451"/>
                <a:gd name="connsiteY12" fmla="*/ 4977583 h 7549508"/>
                <a:gd name="connsiteX13" fmla="*/ 9461757 w 9764451"/>
                <a:gd name="connsiteY13" fmla="*/ 5717297 h 7549508"/>
                <a:gd name="connsiteX14" fmla="*/ 9598459 w 9764451"/>
                <a:gd name="connsiteY14" fmla="*/ 6320448 h 7549508"/>
                <a:gd name="connsiteX15" fmla="*/ 9373875 w 9764451"/>
                <a:gd name="connsiteY15" fmla="*/ 6650472 h 7549508"/>
                <a:gd name="connsiteX16" fmla="*/ 8700129 w 9764451"/>
                <a:gd name="connsiteY16" fmla="*/ 7117060 h 7549508"/>
                <a:gd name="connsiteX17" fmla="*/ 7518631 w 9764451"/>
                <a:gd name="connsiteY17" fmla="*/ 7390188 h 7549508"/>
                <a:gd name="connsiteX18" fmla="*/ 5790322 w 9764451"/>
                <a:gd name="connsiteY18" fmla="*/ 7356044 h 7549508"/>
                <a:gd name="connsiteX19" fmla="*/ 3739787 w 9764451"/>
                <a:gd name="connsiteY19" fmla="*/ 6468388 h 7549508"/>
                <a:gd name="connsiteX20" fmla="*/ 0 w 9764451"/>
                <a:gd name="connsiteY20" fmla="*/ 3464018 h 7549508"/>
                <a:gd name="connsiteX21" fmla="*/ 29294 w 9764451"/>
                <a:gd name="connsiteY21" fmla="*/ 4021647 h 7549508"/>
                <a:gd name="connsiteX22" fmla="*/ 3163683 w 9764451"/>
                <a:gd name="connsiteY22" fmla="*/ 6388727 h 7549508"/>
                <a:gd name="connsiteX23" fmla="*/ 4354948 w 9764451"/>
                <a:gd name="connsiteY23" fmla="*/ 7014639 h 7549508"/>
                <a:gd name="connsiteX24" fmla="*/ 6063725 w 9764451"/>
                <a:gd name="connsiteY24" fmla="*/ 7526744 h 7549508"/>
                <a:gd name="connsiteX25" fmla="*/ 7665095 w 9764451"/>
                <a:gd name="connsiteY25" fmla="*/ 7549508 h 7549508"/>
                <a:gd name="connsiteX26" fmla="*/ 8768479 w 9764451"/>
                <a:gd name="connsiteY26" fmla="*/ 7265006 h 7549508"/>
                <a:gd name="connsiteX27" fmla="*/ 9530104 w 9764451"/>
                <a:gd name="connsiteY27" fmla="*/ 6764278 h 7549508"/>
                <a:gd name="connsiteX28" fmla="*/ 9764451 w 9764451"/>
                <a:gd name="connsiteY28" fmla="*/ 6365972 h 7549508"/>
                <a:gd name="connsiteX29" fmla="*/ 9569165 w 9764451"/>
                <a:gd name="connsiteY29" fmla="*/ 5626261 h 7549508"/>
                <a:gd name="connsiteX30" fmla="*/ 8416115 w 9764451"/>
                <a:gd name="connsiteY30" fmla="*/ 4823255 h 7549508"/>
                <a:gd name="connsiteX31" fmla="*/ 3519581 w 9764451"/>
                <a:gd name="connsiteY31" fmla="*/ 556312 h 7549508"/>
                <a:gd name="connsiteX32" fmla="*/ 2614466 w 9764451"/>
                <a:gd name="connsiteY32" fmla="*/ 0 h 7549508"/>
                <a:gd name="connsiteX33" fmla="*/ 2538267 w 9764451"/>
                <a:gd name="connsiteY33" fmla="*/ 137176 h 7549508"/>
                <a:gd name="connsiteX0" fmla="*/ 3586701 w 10812885"/>
                <a:gd name="connsiteY0" fmla="*/ 1280127 h 8692459"/>
                <a:gd name="connsiteX1" fmla="*/ 4334057 w 10812885"/>
                <a:gd name="connsiteY1" fmla="*/ 1859937 h 8692459"/>
                <a:gd name="connsiteX2" fmla="*/ 4077358 w 10812885"/>
                <a:gd name="connsiteY2" fmla="*/ 1966626 h 8692459"/>
                <a:gd name="connsiteX3" fmla="*/ 5698756 w 10812885"/>
                <a:gd name="connsiteY3" fmla="*/ 3366910 h 8692459"/>
                <a:gd name="connsiteX4" fmla="*/ 6020053 w 10812885"/>
                <a:gd name="connsiteY4" fmla="*/ 3708524 h 8692459"/>
                <a:gd name="connsiteX5" fmla="*/ 3537437 w 10812885"/>
                <a:gd name="connsiteY5" fmla="*/ 4473794 h 8692459"/>
                <a:gd name="connsiteX6" fmla="*/ 3749613 w 10812885"/>
                <a:gd name="connsiteY6" fmla="*/ 4717693 h 8692459"/>
                <a:gd name="connsiteX7" fmla="*/ 4462316 w 10812885"/>
                <a:gd name="connsiteY7" fmla="*/ 4408368 h 8692459"/>
                <a:gd name="connsiteX8" fmla="*/ 4893228 w 10812885"/>
                <a:gd name="connsiteY8" fmla="*/ 4923491 h 8692459"/>
                <a:gd name="connsiteX9" fmla="*/ 6641545 w 10812885"/>
                <a:gd name="connsiteY9" fmla="*/ 4285297 h 8692459"/>
                <a:gd name="connsiteX10" fmla="*/ 7716528 w 10812885"/>
                <a:gd name="connsiteY10" fmla="*/ 5326176 h 8692459"/>
                <a:gd name="connsiteX11" fmla="*/ 8157523 w 10812885"/>
                <a:gd name="connsiteY11" fmla="*/ 5193479 h 8692459"/>
                <a:gd name="connsiteX12" fmla="*/ 9397043 w 10812885"/>
                <a:gd name="connsiteY12" fmla="*/ 6120534 h 8692459"/>
                <a:gd name="connsiteX13" fmla="*/ 10510191 w 10812885"/>
                <a:gd name="connsiteY13" fmla="*/ 6860248 h 8692459"/>
                <a:gd name="connsiteX14" fmla="*/ 10646893 w 10812885"/>
                <a:gd name="connsiteY14" fmla="*/ 7463399 h 8692459"/>
                <a:gd name="connsiteX15" fmla="*/ 10422309 w 10812885"/>
                <a:gd name="connsiteY15" fmla="*/ 7793423 h 8692459"/>
                <a:gd name="connsiteX16" fmla="*/ 9748563 w 10812885"/>
                <a:gd name="connsiteY16" fmla="*/ 8260011 h 8692459"/>
                <a:gd name="connsiteX17" fmla="*/ 8567065 w 10812885"/>
                <a:gd name="connsiteY17" fmla="*/ 8533139 h 8692459"/>
                <a:gd name="connsiteX18" fmla="*/ 6838756 w 10812885"/>
                <a:gd name="connsiteY18" fmla="*/ 8498995 h 8692459"/>
                <a:gd name="connsiteX19" fmla="*/ 4788221 w 10812885"/>
                <a:gd name="connsiteY19" fmla="*/ 7611339 h 8692459"/>
                <a:gd name="connsiteX20" fmla="*/ 0 w 10812885"/>
                <a:gd name="connsiteY20" fmla="*/ 0 h 8692459"/>
                <a:gd name="connsiteX21" fmla="*/ 1077728 w 10812885"/>
                <a:gd name="connsiteY21" fmla="*/ 5164598 h 8692459"/>
                <a:gd name="connsiteX22" fmla="*/ 4212117 w 10812885"/>
                <a:gd name="connsiteY22" fmla="*/ 7531678 h 8692459"/>
                <a:gd name="connsiteX23" fmla="*/ 5403382 w 10812885"/>
                <a:gd name="connsiteY23" fmla="*/ 8157590 h 8692459"/>
                <a:gd name="connsiteX24" fmla="*/ 7112159 w 10812885"/>
                <a:gd name="connsiteY24" fmla="*/ 8669695 h 8692459"/>
                <a:gd name="connsiteX25" fmla="*/ 8713529 w 10812885"/>
                <a:gd name="connsiteY25" fmla="*/ 8692459 h 8692459"/>
                <a:gd name="connsiteX26" fmla="*/ 9816913 w 10812885"/>
                <a:gd name="connsiteY26" fmla="*/ 8407957 h 8692459"/>
                <a:gd name="connsiteX27" fmla="*/ 10578538 w 10812885"/>
                <a:gd name="connsiteY27" fmla="*/ 7907229 h 8692459"/>
                <a:gd name="connsiteX28" fmla="*/ 10812885 w 10812885"/>
                <a:gd name="connsiteY28" fmla="*/ 7508923 h 8692459"/>
                <a:gd name="connsiteX29" fmla="*/ 10617599 w 10812885"/>
                <a:gd name="connsiteY29" fmla="*/ 6769212 h 8692459"/>
                <a:gd name="connsiteX30" fmla="*/ 9464549 w 10812885"/>
                <a:gd name="connsiteY30" fmla="*/ 5966206 h 8692459"/>
                <a:gd name="connsiteX31" fmla="*/ 4568015 w 10812885"/>
                <a:gd name="connsiteY31" fmla="*/ 1699263 h 8692459"/>
                <a:gd name="connsiteX32" fmla="*/ 3662900 w 10812885"/>
                <a:gd name="connsiteY32" fmla="*/ 1142951 h 8692459"/>
                <a:gd name="connsiteX33" fmla="*/ 3586701 w 10812885"/>
                <a:gd name="connsiteY33" fmla="*/ 1280127 h 8692459"/>
                <a:gd name="connsiteX0" fmla="*/ 3614077 w 10840261"/>
                <a:gd name="connsiteY0" fmla="*/ 1280127 h 8692459"/>
                <a:gd name="connsiteX1" fmla="*/ 4361433 w 10840261"/>
                <a:gd name="connsiteY1" fmla="*/ 1859937 h 8692459"/>
                <a:gd name="connsiteX2" fmla="*/ 4104734 w 10840261"/>
                <a:gd name="connsiteY2" fmla="*/ 1966626 h 8692459"/>
                <a:gd name="connsiteX3" fmla="*/ 5726132 w 10840261"/>
                <a:gd name="connsiteY3" fmla="*/ 3366910 h 8692459"/>
                <a:gd name="connsiteX4" fmla="*/ 6047429 w 10840261"/>
                <a:gd name="connsiteY4" fmla="*/ 3708524 h 8692459"/>
                <a:gd name="connsiteX5" fmla="*/ 3564813 w 10840261"/>
                <a:gd name="connsiteY5" fmla="*/ 4473794 h 8692459"/>
                <a:gd name="connsiteX6" fmla="*/ 3776989 w 10840261"/>
                <a:gd name="connsiteY6" fmla="*/ 4717693 h 8692459"/>
                <a:gd name="connsiteX7" fmla="*/ 4489692 w 10840261"/>
                <a:gd name="connsiteY7" fmla="*/ 4408368 h 8692459"/>
                <a:gd name="connsiteX8" fmla="*/ 4920604 w 10840261"/>
                <a:gd name="connsiteY8" fmla="*/ 4923491 h 8692459"/>
                <a:gd name="connsiteX9" fmla="*/ 6668921 w 10840261"/>
                <a:gd name="connsiteY9" fmla="*/ 4285297 h 8692459"/>
                <a:gd name="connsiteX10" fmla="*/ 7743904 w 10840261"/>
                <a:gd name="connsiteY10" fmla="*/ 5326176 h 8692459"/>
                <a:gd name="connsiteX11" fmla="*/ 8184899 w 10840261"/>
                <a:gd name="connsiteY11" fmla="*/ 5193479 h 8692459"/>
                <a:gd name="connsiteX12" fmla="*/ 9424419 w 10840261"/>
                <a:gd name="connsiteY12" fmla="*/ 6120534 h 8692459"/>
                <a:gd name="connsiteX13" fmla="*/ 10537567 w 10840261"/>
                <a:gd name="connsiteY13" fmla="*/ 6860248 h 8692459"/>
                <a:gd name="connsiteX14" fmla="*/ 10674269 w 10840261"/>
                <a:gd name="connsiteY14" fmla="*/ 7463399 h 8692459"/>
                <a:gd name="connsiteX15" fmla="*/ 10449685 w 10840261"/>
                <a:gd name="connsiteY15" fmla="*/ 7793423 h 8692459"/>
                <a:gd name="connsiteX16" fmla="*/ 9775939 w 10840261"/>
                <a:gd name="connsiteY16" fmla="*/ 8260011 h 8692459"/>
                <a:gd name="connsiteX17" fmla="*/ 8594441 w 10840261"/>
                <a:gd name="connsiteY17" fmla="*/ 8533139 h 8692459"/>
                <a:gd name="connsiteX18" fmla="*/ 6866132 w 10840261"/>
                <a:gd name="connsiteY18" fmla="*/ 8498995 h 8692459"/>
                <a:gd name="connsiteX19" fmla="*/ 4815597 w 10840261"/>
                <a:gd name="connsiteY19" fmla="*/ 7611339 h 8692459"/>
                <a:gd name="connsiteX20" fmla="*/ 27376 w 10840261"/>
                <a:gd name="connsiteY20" fmla="*/ 0 h 8692459"/>
                <a:gd name="connsiteX21" fmla="*/ 0 w 10840261"/>
                <a:gd name="connsiteY21" fmla="*/ 409015 h 8692459"/>
                <a:gd name="connsiteX22" fmla="*/ 4239493 w 10840261"/>
                <a:gd name="connsiteY22" fmla="*/ 7531678 h 8692459"/>
                <a:gd name="connsiteX23" fmla="*/ 5430758 w 10840261"/>
                <a:gd name="connsiteY23" fmla="*/ 8157590 h 8692459"/>
                <a:gd name="connsiteX24" fmla="*/ 7139535 w 10840261"/>
                <a:gd name="connsiteY24" fmla="*/ 8669695 h 8692459"/>
                <a:gd name="connsiteX25" fmla="*/ 8740905 w 10840261"/>
                <a:gd name="connsiteY25" fmla="*/ 8692459 h 8692459"/>
                <a:gd name="connsiteX26" fmla="*/ 9844289 w 10840261"/>
                <a:gd name="connsiteY26" fmla="*/ 8407957 h 8692459"/>
                <a:gd name="connsiteX27" fmla="*/ 10605914 w 10840261"/>
                <a:gd name="connsiteY27" fmla="*/ 7907229 h 8692459"/>
                <a:gd name="connsiteX28" fmla="*/ 10840261 w 10840261"/>
                <a:gd name="connsiteY28" fmla="*/ 7508923 h 8692459"/>
                <a:gd name="connsiteX29" fmla="*/ 10644975 w 10840261"/>
                <a:gd name="connsiteY29" fmla="*/ 6769212 h 8692459"/>
                <a:gd name="connsiteX30" fmla="*/ 9491925 w 10840261"/>
                <a:gd name="connsiteY30" fmla="*/ 5966206 h 8692459"/>
                <a:gd name="connsiteX31" fmla="*/ 4595391 w 10840261"/>
                <a:gd name="connsiteY31" fmla="*/ 1699263 h 8692459"/>
                <a:gd name="connsiteX32" fmla="*/ 3690276 w 10840261"/>
                <a:gd name="connsiteY32" fmla="*/ 1142951 h 8692459"/>
                <a:gd name="connsiteX33" fmla="*/ 3614077 w 10840261"/>
                <a:gd name="connsiteY33" fmla="*/ 1280127 h 8692459"/>
                <a:gd name="connsiteX0" fmla="*/ 3643373 w 10869557"/>
                <a:gd name="connsiteY0" fmla="*/ 1461763 h 8874095"/>
                <a:gd name="connsiteX1" fmla="*/ 4390729 w 10869557"/>
                <a:gd name="connsiteY1" fmla="*/ 2041573 h 8874095"/>
                <a:gd name="connsiteX2" fmla="*/ 4134030 w 10869557"/>
                <a:gd name="connsiteY2" fmla="*/ 2148262 h 8874095"/>
                <a:gd name="connsiteX3" fmla="*/ 5755428 w 10869557"/>
                <a:gd name="connsiteY3" fmla="*/ 3548546 h 8874095"/>
                <a:gd name="connsiteX4" fmla="*/ 6076725 w 10869557"/>
                <a:gd name="connsiteY4" fmla="*/ 3890160 h 8874095"/>
                <a:gd name="connsiteX5" fmla="*/ 3594109 w 10869557"/>
                <a:gd name="connsiteY5" fmla="*/ 4655430 h 8874095"/>
                <a:gd name="connsiteX6" fmla="*/ 3806285 w 10869557"/>
                <a:gd name="connsiteY6" fmla="*/ 4899329 h 8874095"/>
                <a:gd name="connsiteX7" fmla="*/ 4518988 w 10869557"/>
                <a:gd name="connsiteY7" fmla="*/ 4590004 h 8874095"/>
                <a:gd name="connsiteX8" fmla="*/ 4949900 w 10869557"/>
                <a:gd name="connsiteY8" fmla="*/ 5105127 h 8874095"/>
                <a:gd name="connsiteX9" fmla="*/ 6698217 w 10869557"/>
                <a:gd name="connsiteY9" fmla="*/ 4466933 h 8874095"/>
                <a:gd name="connsiteX10" fmla="*/ 7773200 w 10869557"/>
                <a:gd name="connsiteY10" fmla="*/ 5507812 h 8874095"/>
                <a:gd name="connsiteX11" fmla="*/ 8214195 w 10869557"/>
                <a:gd name="connsiteY11" fmla="*/ 5375115 h 8874095"/>
                <a:gd name="connsiteX12" fmla="*/ 9453715 w 10869557"/>
                <a:gd name="connsiteY12" fmla="*/ 6302170 h 8874095"/>
                <a:gd name="connsiteX13" fmla="*/ 10566863 w 10869557"/>
                <a:gd name="connsiteY13" fmla="*/ 7041884 h 8874095"/>
                <a:gd name="connsiteX14" fmla="*/ 10703565 w 10869557"/>
                <a:gd name="connsiteY14" fmla="*/ 7645035 h 8874095"/>
                <a:gd name="connsiteX15" fmla="*/ 10478981 w 10869557"/>
                <a:gd name="connsiteY15" fmla="*/ 7975059 h 8874095"/>
                <a:gd name="connsiteX16" fmla="*/ 9805235 w 10869557"/>
                <a:gd name="connsiteY16" fmla="*/ 8441647 h 8874095"/>
                <a:gd name="connsiteX17" fmla="*/ 8623737 w 10869557"/>
                <a:gd name="connsiteY17" fmla="*/ 8714775 h 8874095"/>
                <a:gd name="connsiteX18" fmla="*/ 6895428 w 10869557"/>
                <a:gd name="connsiteY18" fmla="*/ 8680631 h 8874095"/>
                <a:gd name="connsiteX19" fmla="*/ 4844893 w 10869557"/>
                <a:gd name="connsiteY19" fmla="*/ 7792975 h 8874095"/>
                <a:gd name="connsiteX20" fmla="*/ 0 w 10869557"/>
                <a:gd name="connsiteY20" fmla="*/ 0 h 8874095"/>
                <a:gd name="connsiteX21" fmla="*/ 29296 w 10869557"/>
                <a:gd name="connsiteY21" fmla="*/ 590651 h 8874095"/>
                <a:gd name="connsiteX22" fmla="*/ 4268789 w 10869557"/>
                <a:gd name="connsiteY22" fmla="*/ 7713314 h 8874095"/>
                <a:gd name="connsiteX23" fmla="*/ 5460054 w 10869557"/>
                <a:gd name="connsiteY23" fmla="*/ 8339226 h 8874095"/>
                <a:gd name="connsiteX24" fmla="*/ 7168831 w 10869557"/>
                <a:gd name="connsiteY24" fmla="*/ 8851331 h 8874095"/>
                <a:gd name="connsiteX25" fmla="*/ 8770201 w 10869557"/>
                <a:gd name="connsiteY25" fmla="*/ 8874095 h 8874095"/>
                <a:gd name="connsiteX26" fmla="*/ 9873585 w 10869557"/>
                <a:gd name="connsiteY26" fmla="*/ 8589593 h 8874095"/>
                <a:gd name="connsiteX27" fmla="*/ 10635210 w 10869557"/>
                <a:gd name="connsiteY27" fmla="*/ 8088865 h 8874095"/>
                <a:gd name="connsiteX28" fmla="*/ 10869557 w 10869557"/>
                <a:gd name="connsiteY28" fmla="*/ 7690559 h 8874095"/>
                <a:gd name="connsiteX29" fmla="*/ 10674271 w 10869557"/>
                <a:gd name="connsiteY29" fmla="*/ 6950848 h 8874095"/>
                <a:gd name="connsiteX30" fmla="*/ 9521221 w 10869557"/>
                <a:gd name="connsiteY30" fmla="*/ 6147842 h 8874095"/>
                <a:gd name="connsiteX31" fmla="*/ 4624687 w 10869557"/>
                <a:gd name="connsiteY31" fmla="*/ 1880899 h 8874095"/>
                <a:gd name="connsiteX32" fmla="*/ 3719572 w 10869557"/>
                <a:gd name="connsiteY32" fmla="*/ 1324587 h 8874095"/>
                <a:gd name="connsiteX33" fmla="*/ 3643373 w 10869557"/>
                <a:gd name="connsiteY33" fmla="*/ 1461763 h 8874095"/>
                <a:gd name="connsiteX0" fmla="*/ 3643373 w 10869557"/>
                <a:gd name="connsiteY0" fmla="*/ 1461763 h 9496658"/>
                <a:gd name="connsiteX1" fmla="*/ 4390729 w 10869557"/>
                <a:gd name="connsiteY1" fmla="*/ 2041573 h 9496658"/>
                <a:gd name="connsiteX2" fmla="*/ 4134030 w 10869557"/>
                <a:gd name="connsiteY2" fmla="*/ 2148262 h 9496658"/>
                <a:gd name="connsiteX3" fmla="*/ 5755428 w 10869557"/>
                <a:gd name="connsiteY3" fmla="*/ 3548546 h 9496658"/>
                <a:gd name="connsiteX4" fmla="*/ 6076725 w 10869557"/>
                <a:gd name="connsiteY4" fmla="*/ 3890160 h 9496658"/>
                <a:gd name="connsiteX5" fmla="*/ 3594109 w 10869557"/>
                <a:gd name="connsiteY5" fmla="*/ 4655430 h 9496658"/>
                <a:gd name="connsiteX6" fmla="*/ 3806285 w 10869557"/>
                <a:gd name="connsiteY6" fmla="*/ 4899329 h 9496658"/>
                <a:gd name="connsiteX7" fmla="*/ 4518988 w 10869557"/>
                <a:gd name="connsiteY7" fmla="*/ 4590004 h 9496658"/>
                <a:gd name="connsiteX8" fmla="*/ 4949900 w 10869557"/>
                <a:gd name="connsiteY8" fmla="*/ 5105127 h 9496658"/>
                <a:gd name="connsiteX9" fmla="*/ 6698217 w 10869557"/>
                <a:gd name="connsiteY9" fmla="*/ 4466933 h 9496658"/>
                <a:gd name="connsiteX10" fmla="*/ 7773200 w 10869557"/>
                <a:gd name="connsiteY10" fmla="*/ 5507812 h 9496658"/>
                <a:gd name="connsiteX11" fmla="*/ 8214195 w 10869557"/>
                <a:gd name="connsiteY11" fmla="*/ 5375115 h 9496658"/>
                <a:gd name="connsiteX12" fmla="*/ 9453715 w 10869557"/>
                <a:gd name="connsiteY12" fmla="*/ 6302170 h 9496658"/>
                <a:gd name="connsiteX13" fmla="*/ 10566863 w 10869557"/>
                <a:gd name="connsiteY13" fmla="*/ 7041884 h 9496658"/>
                <a:gd name="connsiteX14" fmla="*/ 10703565 w 10869557"/>
                <a:gd name="connsiteY14" fmla="*/ 7645035 h 9496658"/>
                <a:gd name="connsiteX15" fmla="*/ 10478981 w 10869557"/>
                <a:gd name="connsiteY15" fmla="*/ 7975059 h 9496658"/>
                <a:gd name="connsiteX16" fmla="*/ 9805235 w 10869557"/>
                <a:gd name="connsiteY16" fmla="*/ 8441647 h 9496658"/>
                <a:gd name="connsiteX17" fmla="*/ 8623737 w 10869557"/>
                <a:gd name="connsiteY17" fmla="*/ 8714775 h 9496658"/>
                <a:gd name="connsiteX18" fmla="*/ 6895428 w 10869557"/>
                <a:gd name="connsiteY18" fmla="*/ 8680631 h 9496658"/>
                <a:gd name="connsiteX19" fmla="*/ 4844893 w 10869557"/>
                <a:gd name="connsiteY19" fmla="*/ 7792975 h 9496658"/>
                <a:gd name="connsiteX20" fmla="*/ 0 w 10869557"/>
                <a:gd name="connsiteY20" fmla="*/ 0 h 9496658"/>
                <a:gd name="connsiteX21" fmla="*/ 29296 w 10869557"/>
                <a:gd name="connsiteY21" fmla="*/ 590651 h 9496658"/>
                <a:gd name="connsiteX22" fmla="*/ 3942924 w 10869557"/>
                <a:gd name="connsiteY22" fmla="*/ 9496658 h 9496658"/>
                <a:gd name="connsiteX23" fmla="*/ 5460054 w 10869557"/>
                <a:gd name="connsiteY23" fmla="*/ 8339226 h 9496658"/>
                <a:gd name="connsiteX24" fmla="*/ 7168831 w 10869557"/>
                <a:gd name="connsiteY24" fmla="*/ 8851331 h 9496658"/>
                <a:gd name="connsiteX25" fmla="*/ 8770201 w 10869557"/>
                <a:gd name="connsiteY25" fmla="*/ 8874095 h 9496658"/>
                <a:gd name="connsiteX26" fmla="*/ 9873585 w 10869557"/>
                <a:gd name="connsiteY26" fmla="*/ 8589593 h 9496658"/>
                <a:gd name="connsiteX27" fmla="*/ 10635210 w 10869557"/>
                <a:gd name="connsiteY27" fmla="*/ 8088865 h 9496658"/>
                <a:gd name="connsiteX28" fmla="*/ 10869557 w 10869557"/>
                <a:gd name="connsiteY28" fmla="*/ 7690559 h 9496658"/>
                <a:gd name="connsiteX29" fmla="*/ 10674271 w 10869557"/>
                <a:gd name="connsiteY29" fmla="*/ 6950848 h 9496658"/>
                <a:gd name="connsiteX30" fmla="*/ 9521221 w 10869557"/>
                <a:gd name="connsiteY30" fmla="*/ 6147842 h 9496658"/>
                <a:gd name="connsiteX31" fmla="*/ 4624687 w 10869557"/>
                <a:gd name="connsiteY31" fmla="*/ 1880899 h 9496658"/>
                <a:gd name="connsiteX32" fmla="*/ 3719572 w 10869557"/>
                <a:gd name="connsiteY32" fmla="*/ 1324587 h 9496658"/>
                <a:gd name="connsiteX33" fmla="*/ 3643373 w 10869557"/>
                <a:gd name="connsiteY33" fmla="*/ 1461763 h 9496658"/>
                <a:gd name="connsiteX0" fmla="*/ 3643373 w 10869557"/>
                <a:gd name="connsiteY0" fmla="*/ 1461763 h 9496658"/>
                <a:gd name="connsiteX1" fmla="*/ 4390729 w 10869557"/>
                <a:gd name="connsiteY1" fmla="*/ 2041573 h 9496658"/>
                <a:gd name="connsiteX2" fmla="*/ 4134030 w 10869557"/>
                <a:gd name="connsiteY2" fmla="*/ 2148262 h 9496658"/>
                <a:gd name="connsiteX3" fmla="*/ 5755428 w 10869557"/>
                <a:gd name="connsiteY3" fmla="*/ 3548546 h 9496658"/>
                <a:gd name="connsiteX4" fmla="*/ 6076725 w 10869557"/>
                <a:gd name="connsiteY4" fmla="*/ 3890160 h 9496658"/>
                <a:gd name="connsiteX5" fmla="*/ 3594109 w 10869557"/>
                <a:gd name="connsiteY5" fmla="*/ 4655430 h 9496658"/>
                <a:gd name="connsiteX6" fmla="*/ 3806285 w 10869557"/>
                <a:gd name="connsiteY6" fmla="*/ 4899329 h 9496658"/>
                <a:gd name="connsiteX7" fmla="*/ 4518988 w 10869557"/>
                <a:gd name="connsiteY7" fmla="*/ 4590004 h 9496658"/>
                <a:gd name="connsiteX8" fmla="*/ 4949900 w 10869557"/>
                <a:gd name="connsiteY8" fmla="*/ 5105127 h 9496658"/>
                <a:gd name="connsiteX9" fmla="*/ 6698217 w 10869557"/>
                <a:gd name="connsiteY9" fmla="*/ 4466933 h 9496658"/>
                <a:gd name="connsiteX10" fmla="*/ 7773200 w 10869557"/>
                <a:gd name="connsiteY10" fmla="*/ 5507812 h 9496658"/>
                <a:gd name="connsiteX11" fmla="*/ 8214195 w 10869557"/>
                <a:gd name="connsiteY11" fmla="*/ 5375115 h 9496658"/>
                <a:gd name="connsiteX12" fmla="*/ 9453715 w 10869557"/>
                <a:gd name="connsiteY12" fmla="*/ 6302170 h 9496658"/>
                <a:gd name="connsiteX13" fmla="*/ 10566863 w 10869557"/>
                <a:gd name="connsiteY13" fmla="*/ 7041884 h 9496658"/>
                <a:gd name="connsiteX14" fmla="*/ 10703565 w 10869557"/>
                <a:gd name="connsiteY14" fmla="*/ 7645035 h 9496658"/>
                <a:gd name="connsiteX15" fmla="*/ 10478981 w 10869557"/>
                <a:gd name="connsiteY15" fmla="*/ 7975059 h 9496658"/>
                <a:gd name="connsiteX16" fmla="*/ 9805235 w 10869557"/>
                <a:gd name="connsiteY16" fmla="*/ 8441647 h 9496658"/>
                <a:gd name="connsiteX17" fmla="*/ 8623737 w 10869557"/>
                <a:gd name="connsiteY17" fmla="*/ 8714775 h 9496658"/>
                <a:gd name="connsiteX18" fmla="*/ 6895428 w 10869557"/>
                <a:gd name="connsiteY18" fmla="*/ 8680631 h 9496658"/>
                <a:gd name="connsiteX19" fmla="*/ 4278172 w 10869557"/>
                <a:gd name="connsiteY19" fmla="*/ 9047920 h 9496658"/>
                <a:gd name="connsiteX20" fmla="*/ 0 w 10869557"/>
                <a:gd name="connsiteY20" fmla="*/ 0 h 9496658"/>
                <a:gd name="connsiteX21" fmla="*/ 29296 w 10869557"/>
                <a:gd name="connsiteY21" fmla="*/ 590651 h 9496658"/>
                <a:gd name="connsiteX22" fmla="*/ 3942924 w 10869557"/>
                <a:gd name="connsiteY22" fmla="*/ 9496658 h 9496658"/>
                <a:gd name="connsiteX23" fmla="*/ 5460054 w 10869557"/>
                <a:gd name="connsiteY23" fmla="*/ 8339226 h 9496658"/>
                <a:gd name="connsiteX24" fmla="*/ 7168831 w 10869557"/>
                <a:gd name="connsiteY24" fmla="*/ 8851331 h 9496658"/>
                <a:gd name="connsiteX25" fmla="*/ 8770201 w 10869557"/>
                <a:gd name="connsiteY25" fmla="*/ 8874095 h 9496658"/>
                <a:gd name="connsiteX26" fmla="*/ 9873585 w 10869557"/>
                <a:gd name="connsiteY26" fmla="*/ 8589593 h 9496658"/>
                <a:gd name="connsiteX27" fmla="*/ 10635210 w 10869557"/>
                <a:gd name="connsiteY27" fmla="*/ 8088865 h 9496658"/>
                <a:gd name="connsiteX28" fmla="*/ 10869557 w 10869557"/>
                <a:gd name="connsiteY28" fmla="*/ 7690559 h 9496658"/>
                <a:gd name="connsiteX29" fmla="*/ 10674271 w 10869557"/>
                <a:gd name="connsiteY29" fmla="*/ 6950848 h 9496658"/>
                <a:gd name="connsiteX30" fmla="*/ 9521221 w 10869557"/>
                <a:gd name="connsiteY30" fmla="*/ 6147842 h 9496658"/>
                <a:gd name="connsiteX31" fmla="*/ 4624687 w 10869557"/>
                <a:gd name="connsiteY31" fmla="*/ 1880899 h 9496658"/>
                <a:gd name="connsiteX32" fmla="*/ 3719572 w 10869557"/>
                <a:gd name="connsiteY32" fmla="*/ 1324587 h 9496658"/>
                <a:gd name="connsiteX33" fmla="*/ 3643373 w 10869557"/>
                <a:gd name="connsiteY33" fmla="*/ 1461763 h 9496658"/>
                <a:gd name="connsiteX0" fmla="*/ 3643373 w 10869557"/>
                <a:gd name="connsiteY0" fmla="*/ 1461763 h 9447119"/>
                <a:gd name="connsiteX1" fmla="*/ 4390729 w 10869557"/>
                <a:gd name="connsiteY1" fmla="*/ 2041573 h 9447119"/>
                <a:gd name="connsiteX2" fmla="*/ 4134030 w 10869557"/>
                <a:gd name="connsiteY2" fmla="*/ 2148262 h 9447119"/>
                <a:gd name="connsiteX3" fmla="*/ 5755428 w 10869557"/>
                <a:gd name="connsiteY3" fmla="*/ 3548546 h 9447119"/>
                <a:gd name="connsiteX4" fmla="*/ 6076725 w 10869557"/>
                <a:gd name="connsiteY4" fmla="*/ 3890160 h 9447119"/>
                <a:gd name="connsiteX5" fmla="*/ 3594109 w 10869557"/>
                <a:gd name="connsiteY5" fmla="*/ 4655430 h 9447119"/>
                <a:gd name="connsiteX6" fmla="*/ 3806285 w 10869557"/>
                <a:gd name="connsiteY6" fmla="*/ 4899329 h 9447119"/>
                <a:gd name="connsiteX7" fmla="*/ 4518988 w 10869557"/>
                <a:gd name="connsiteY7" fmla="*/ 4590004 h 9447119"/>
                <a:gd name="connsiteX8" fmla="*/ 4949900 w 10869557"/>
                <a:gd name="connsiteY8" fmla="*/ 5105127 h 9447119"/>
                <a:gd name="connsiteX9" fmla="*/ 6698217 w 10869557"/>
                <a:gd name="connsiteY9" fmla="*/ 4466933 h 9447119"/>
                <a:gd name="connsiteX10" fmla="*/ 7773200 w 10869557"/>
                <a:gd name="connsiteY10" fmla="*/ 5507812 h 9447119"/>
                <a:gd name="connsiteX11" fmla="*/ 8214195 w 10869557"/>
                <a:gd name="connsiteY11" fmla="*/ 5375115 h 9447119"/>
                <a:gd name="connsiteX12" fmla="*/ 9453715 w 10869557"/>
                <a:gd name="connsiteY12" fmla="*/ 6302170 h 9447119"/>
                <a:gd name="connsiteX13" fmla="*/ 10566863 w 10869557"/>
                <a:gd name="connsiteY13" fmla="*/ 7041884 h 9447119"/>
                <a:gd name="connsiteX14" fmla="*/ 10703565 w 10869557"/>
                <a:gd name="connsiteY14" fmla="*/ 7645035 h 9447119"/>
                <a:gd name="connsiteX15" fmla="*/ 10478981 w 10869557"/>
                <a:gd name="connsiteY15" fmla="*/ 7975059 h 9447119"/>
                <a:gd name="connsiteX16" fmla="*/ 9805235 w 10869557"/>
                <a:gd name="connsiteY16" fmla="*/ 8441647 h 9447119"/>
                <a:gd name="connsiteX17" fmla="*/ 8623737 w 10869557"/>
                <a:gd name="connsiteY17" fmla="*/ 8714775 h 9447119"/>
                <a:gd name="connsiteX18" fmla="*/ 6895428 w 10869557"/>
                <a:gd name="connsiteY18" fmla="*/ 8680631 h 9447119"/>
                <a:gd name="connsiteX19" fmla="*/ 4278172 w 10869557"/>
                <a:gd name="connsiteY19" fmla="*/ 9047920 h 9447119"/>
                <a:gd name="connsiteX20" fmla="*/ 0 w 10869557"/>
                <a:gd name="connsiteY20" fmla="*/ 0 h 9447119"/>
                <a:gd name="connsiteX21" fmla="*/ 29296 w 10869557"/>
                <a:gd name="connsiteY21" fmla="*/ 590651 h 9447119"/>
                <a:gd name="connsiteX22" fmla="*/ 4056269 w 10869557"/>
                <a:gd name="connsiteY22" fmla="*/ 9447119 h 9447119"/>
                <a:gd name="connsiteX23" fmla="*/ 5460054 w 10869557"/>
                <a:gd name="connsiteY23" fmla="*/ 8339226 h 9447119"/>
                <a:gd name="connsiteX24" fmla="*/ 7168831 w 10869557"/>
                <a:gd name="connsiteY24" fmla="*/ 8851331 h 9447119"/>
                <a:gd name="connsiteX25" fmla="*/ 8770201 w 10869557"/>
                <a:gd name="connsiteY25" fmla="*/ 8874095 h 9447119"/>
                <a:gd name="connsiteX26" fmla="*/ 9873585 w 10869557"/>
                <a:gd name="connsiteY26" fmla="*/ 8589593 h 9447119"/>
                <a:gd name="connsiteX27" fmla="*/ 10635210 w 10869557"/>
                <a:gd name="connsiteY27" fmla="*/ 8088865 h 9447119"/>
                <a:gd name="connsiteX28" fmla="*/ 10869557 w 10869557"/>
                <a:gd name="connsiteY28" fmla="*/ 7690559 h 9447119"/>
                <a:gd name="connsiteX29" fmla="*/ 10674271 w 10869557"/>
                <a:gd name="connsiteY29" fmla="*/ 6950848 h 9447119"/>
                <a:gd name="connsiteX30" fmla="*/ 9521221 w 10869557"/>
                <a:gd name="connsiteY30" fmla="*/ 6147842 h 9447119"/>
                <a:gd name="connsiteX31" fmla="*/ 4624687 w 10869557"/>
                <a:gd name="connsiteY31" fmla="*/ 1880899 h 9447119"/>
                <a:gd name="connsiteX32" fmla="*/ 3719572 w 10869557"/>
                <a:gd name="connsiteY32" fmla="*/ 1324587 h 9447119"/>
                <a:gd name="connsiteX33" fmla="*/ 3643373 w 10869557"/>
                <a:gd name="connsiteY33" fmla="*/ 1461763 h 9447119"/>
                <a:gd name="connsiteX0" fmla="*/ 3643373 w 10869557"/>
                <a:gd name="connsiteY0" fmla="*/ 1461763 h 10469331"/>
                <a:gd name="connsiteX1" fmla="*/ 4390729 w 10869557"/>
                <a:gd name="connsiteY1" fmla="*/ 2041573 h 10469331"/>
                <a:gd name="connsiteX2" fmla="*/ 4134030 w 10869557"/>
                <a:gd name="connsiteY2" fmla="*/ 2148262 h 10469331"/>
                <a:gd name="connsiteX3" fmla="*/ 5755428 w 10869557"/>
                <a:gd name="connsiteY3" fmla="*/ 3548546 h 10469331"/>
                <a:gd name="connsiteX4" fmla="*/ 6076725 w 10869557"/>
                <a:gd name="connsiteY4" fmla="*/ 3890160 h 10469331"/>
                <a:gd name="connsiteX5" fmla="*/ 3594109 w 10869557"/>
                <a:gd name="connsiteY5" fmla="*/ 4655430 h 10469331"/>
                <a:gd name="connsiteX6" fmla="*/ 3806285 w 10869557"/>
                <a:gd name="connsiteY6" fmla="*/ 4899329 h 10469331"/>
                <a:gd name="connsiteX7" fmla="*/ 4518988 w 10869557"/>
                <a:gd name="connsiteY7" fmla="*/ 4590004 h 10469331"/>
                <a:gd name="connsiteX8" fmla="*/ 4949900 w 10869557"/>
                <a:gd name="connsiteY8" fmla="*/ 5105127 h 10469331"/>
                <a:gd name="connsiteX9" fmla="*/ 6698217 w 10869557"/>
                <a:gd name="connsiteY9" fmla="*/ 4466933 h 10469331"/>
                <a:gd name="connsiteX10" fmla="*/ 7773200 w 10869557"/>
                <a:gd name="connsiteY10" fmla="*/ 5507812 h 10469331"/>
                <a:gd name="connsiteX11" fmla="*/ 8214195 w 10869557"/>
                <a:gd name="connsiteY11" fmla="*/ 5375115 h 10469331"/>
                <a:gd name="connsiteX12" fmla="*/ 9453715 w 10869557"/>
                <a:gd name="connsiteY12" fmla="*/ 6302170 h 10469331"/>
                <a:gd name="connsiteX13" fmla="*/ 10566863 w 10869557"/>
                <a:gd name="connsiteY13" fmla="*/ 7041884 h 10469331"/>
                <a:gd name="connsiteX14" fmla="*/ 10703565 w 10869557"/>
                <a:gd name="connsiteY14" fmla="*/ 7645035 h 10469331"/>
                <a:gd name="connsiteX15" fmla="*/ 10478981 w 10869557"/>
                <a:gd name="connsiteY15" fmla="*/ 7975059 h 10469331"/>
                <a:gd name="connsiteX16" fmla="*/ 9805235 w 10869557"/>
                <a:gd name="connsiteY16" fmla="*/ 8441647 h 10469331"/>
                <a:gd name="connsiteX17" fmla="*/ 8623737 w 10869557"/>
                <a:gd name="connsiteY17" fmla="*/ 8714775 h 10469331"/>
                <a:gd name="connsiteX18" fmla="*/ 6895428 w 10869557"/>
                <a:gd name="connsiteY18" fmla="*/ 8680631 h 10469331"/>
                <a:gd name="connsiteX19" fmla="*/ 4278172 w 10869557"/>
                <a:gd name="connsiteY19" fmla="*/ 9047920 h 10469331"/>
                <a:gd name="connsiteX20" fmla="*/ 0 w 10869557"/>
                <a:gd name="connsiteY20" fmla="*/ 0 h 10469331"/>
                <a:gd name="connsiteX21" fmla="*/ 29296 w 10869557"/>
                <a:gd name="connsiteY21" fmla="*/ 590651 h 10469331"/>
                <a:gd name="connsiteX22" fmla="*/ 4056269 w 10869557"/>
                <a:gd name="connsiteY22" fmla="*/ 9447119 h 10469331"/>
                <a:gd name="connsiteX23" fmla="*/ 5148356 w 10869557"/>
                <a:gd name="connsiteY23" fmla="*/ 10469331 h 10469331"/>
                <a:gd name="connsiteX24" fmla="*/ 7168831 w 10869557"/>
                <a:gd name="connsiteY24" fmla="*/ 8851331 h 10469331"/>
                <a:gd name="connsiteX25" fmla="*/ 8770201 w 10869557"/>
                <a:gd name="connsiteY25" fmla="*/ 8874095 h 10469331"/>
                <a:gd name="connsiteX26" fmla="*/ 9873585 w 10869557"/>
                <a:gd name="connsiteY26" fmla="*/ 8589593 h 10469331"/>
                <a:gd name="connsiteX27" fmla="*/ 10635210 w 10869557"/>
                <a:gd name="connsiteY27" fmla="*/ 8088865 h 10469331"/>
                <a:gd name="connsiteX28" fmla="*/ 10869557 w 10869557"/>
                <a:gd name="connsiteY28" fmla="*/ 7690559 h 10469331"/>
                <a:gd name="connsiteX29" fmla="*/ 10674271 w 10869557"/>
                <a:gd name="connsiteY29" fmla="*/ 6950848 h 10469331"/>
                <a:gd name="connsiteX30" fmla="*/ 9521221 w 10869557"/>
                <a:gd name="connsiteY30" fmla="*/ 6147842 h 10469331"/>
                <a:gd name="connsiteX31" fmla="*/ 4624687 w 10869557"/>
                <a:gd name="connsiteY31" fmla="*/ 1880899 h 10469331"/>
                <a:gd name="connsiteX32" fmla="*/ 3719572 w 10869557"/>
                <a:gd name="connsiteY32" fmla="*/ 1324587 h 10469331"/>
                <a:gd name="connsiteX33" fmla="*/ 3643373 w 10869557"/>
                <a:gd name="connsiteY33" fmla="*/ 1461763 h 10469331"/>
                <a:gd name="connsiteX0" fmla="*/ 3643373 w 10869557"/>
                <a:gd name="connsiteY0" fmla="*/ 1461763 h 10469331"/>
                <a:gd name="connsiteX1" fmla="*/ 4390729 w 10869557"/>
                <a:gd name="connsiteY1" fmla="*/ 2041573 h 10469331"/>
                <a:gd name="connsiteX2" fmla="*/ 4134030 w 10869557"/>
                <a:gd name="connsiteY2" fmla="*/ 2148262 h 10469331"/>
                <a:gd name="connsiteX3" fmla="*/ 5755428 w 10869557"/>
                <a:gd name="connsiteY3" fmla="*/ 3548546 h 10469331"/>
                <a:gd name="connsiteX4" fmla="*/ 6076725 w 10869557"/>
                <a:gd name="connsiteY4" fmla="*/ 3890160 h 10469331"/>
                <a:gd name="connsiteX5" fmla="*/ 3594109 w 10869557"/>
                <a:gd name="connsiteY5" fmla="*/ 4655430 h 10469331"/>
                <a:gd name="connsiteX6" fmla="*/ 3806285 w 10869557"/>
                <a:gd name="connsiteY6" fmla="*/ 4899329 h 10469331"/>
                <a:gd name="connsiteX7" fmla="*/ 4518988 w 10869557"/>
                <a:gd name="connsiteY7" fmla="*/ 4590004 h 10469331"/>
                <a:gd name="connsiteX8" fmla="*/ 4949900 w 10869557"/>
                <a:gd name="connsiteY8" fmla="*/ 5105127 h 10469331"/>
                <a:gd name="connsiteX9" fmla="*/ 6698217 w 10869557"/>
                <a:gd name="connsiteY9" fmla="*/ 4466933 h 10469331"/>
                <a:gd name="connsiteX10" fmla="*/ 7773200 w 10869557"/>
                <a:gd name="connsiteY10" fmla="*/ 5507812 h 10469331"/>
                <a:gd name="connsiteX11" fmla="*/ 8214195 w 10869557"/>
                <a:gd name="connsiteY11" fmla="*/ 5375115 h 10469331"/>
                <a:gd name="connsiteX12" fmla="*/ 9453715 w 10869557"/>
                <a:gd name="connsiteY12" fmla="*/ 6302170 h 10469331"/>
                <a:gd name="connsiteX13" fmla="*/ 10566863 w 10869557"/>
                <a:gd name="connsiteY13" fmla="*/ 7041884 h 10469331"/>
                <a:gd name="connsiteX14" fmla="*/ 10703565 w 10869557"/>
                <a:gd name="connsiteY14" fmla="*/ 7645035 h 10469331"/>
                <a:gd name="connsiteX15" fmla="*/ 10478981 w 10869557"/>
                <a:gd name="connsiteY15" fmla="*/ 7975059 h 10469331"/>
                <a:gd name="connsiteX16" fmla="*/ 9805235 w 10869557"/>
                <a:gd name="connsiteY16" fmla="*/ 8441647 h 10469331"/>
                <a:gd name="connsiteX17" fmla="*/ 8623737 w 10869557"/>
                <a:gd name="connsiteY17" fmla="*/ 8714775 h 10469331"/>
                <a:gd name="connsiteX18" fmla="*/ 5209433 w 10869557"/>
                <a:gd name="connsiteY18" fmla="*/ 10216285 h 10469331"/>
                <a:gd name="connsiteX19" fmla="*/ 4278172 w 10869557"/>
                <a:gd name="connsiteY19" fmla="*/ 9047920 h 10469331"/>
                <a:gd name="connsiteX20" fmla="*/ 0 w 10869557"/>
                <a:gd name="connsiteY20" fmla="*/ 0 h 10469331"/>
                <a:gd name="connsiteX21" fmla="*/ 29296 w 10869557"/>
                <a:gd name="connsiteY21" fmla="*/ 590651 h 10469331"/>
                <a:gd name="connsiteX22" fmla="*/ 4056269 w 10869557"/>
                <a:gd name="connsiteY22" fmla="*/ 9447119 h 10469331"/>
                <a:gd name="connsiteX23" fmla="*/ 5148356 w 10869557"/>
                <a:gd name="connsiteY23" fmla="*/ 10469331 h 10469331"/>
                <a:gd name="connsiteX24" fmla="*/ 7168831 w 10869557"/>
                <a:gd name="connsiteY24" fmla="*/ 8851331 h 10469331"/>
                <a:gd name="connsiteX25" fmla="*/ 8770201 w 10869557"/>
                <a:gd name="connsiteY25" fmla="*/ 8874095 h 10469331"/>
                <a:gd name="connsiteX26" fmla="*/ 9873585 w 10869557"/>
                <a:gd name="connsiteY26" fmla="*/ 8589593 h 10469331"/>
                <a:gd name="connsiteX27" fmla="*/ 10635210 w 10869557"/>
                <a:gd name="connsiteY27" fmla="*/ 8088865 h 10469331"/>
                <a:gd name="connsiteX28" fmla="*/ 10869557 w 10869557"/>
                <a:gd name="connsiteY28" fmla="*/ 7690559 h 10469331"/>
                <a:gd name="connsiteX29" fmla="*/ 10674271 w 10869557"/>
                <a:gd name="connsiteY29" fmla="*/ 6950848 h 10469331"/>
                <a:gd name="connsiteX30" fmla="*/ 9521221 w 10869557"/>
                <a:gd name="connsiteY30" fmla="*/ 6147842 h 10469331"/>
                <a:gd name="connsiteX31" fmla="*/ 4624687 w 10869557"/>
                <a:gd name="connsiteY31" fmla="*/ 1880899 h 10469331"/>
                <a:gd name="connsiteX32" fmla="*/ 3719572 w 10869557"/>
                <a:gd name="connsiteY32" fmla="*/ 1324587 h 10469331"/>
                <a:gd name="connsiteX33" fmla="*/ 3643373 w 10869557"/>
                <a:gd name="connsiteY33" fmla="*/ 1461763 h 10469331"/>
                <a:gd name="connsiteX0" fmla="*/ 3643373 w 10869557"/>
                <a:gd name="connsiteY0" fmla="*/ 1461763 h 11014461"/>
                <a:gd name="connsiteX1" fmla="*/ 4390729 w 10869557"/>
                <a:gd name="connsiteY1" fmla="*/ 2041573 h 11014461"/>
                <a:gd name="connsiteX2" fmla="*/ 4134030 w 10869557"/>
                <a:gd name="connsiteY2" fmla="*/ 2148262 h 11014461"/>
                <a:gd name="connsiteX3" fmla="*/ 5755428 w 10869557"/>
                <a:gd name="connsiteY3" fmla="*/ 3548546 h 11014461"/>
                <a:gd name="connsiteX4" fmla="*/ 6076725 w 10869557"/>
                <a:gd name="connsiteY4" fmla="*/ 3890160 h 11014461"/>
                <a:gd name="connsiteX5" fmla="*/ 3594109 w 10869557"/>
                <a:gd name="connsiteY5" fmla="*/ 4655430 h 11014461"/>
                <a:gd name="connsiteX6" fmla="*/ 3806285 w 10869557"/>
                <a:gd name="connsiteY6" fmla="*/ 4899329 h 11014461"/>
                <a:gd name="connsiteX7" fmla="*/ 4518988 w 10869557"/>
                <a:gd name="connsiteY7" fmla="*/ 4590004 h 11014461"/>
                <a:gd name="connsiteX8" fmla="*/ 4949900 w 10869557"/>
                <a:gd name="connsiteY8" fmla="*/ 5105127 h 11014461"/>
                <a:gd name="connsiteX9" fmla="*/ 6698217 w 10869557"/>
                <a:gd name="connsiteY9" fmla="*/ 4466933 h 11014461"/>
                <a:gd name="connsiteX10" fmla="*/ 7773200 w 10869557"/>
                <a:gd name="connsiteY10" fmla="*/ 5507812 h 11014461"/>
                <a:gd name="connsiteX11" fmla="*/ 8214195 w 10869557"/>
                <a:gd name="connsiteY11" fmla="*/ 5375115 h 11014461"/>
                <a:gd name="connsiteX12" fmla="*/ 9453715 w 10869557"/>
                <a:gd name="connsiteY12" fmla="*/ 6302170 h 11014461"/>
                <a:gd name="connsiteX13" fmla="*/ 10566863 w 10869557"/>
                <a:gd name="connsiteY13" fmla="*/ 7041884 h 11014461"/>
                <a:gd name="connsiteX14" fmla="*/ 10703565 w 10869557"/>
                <a:gd name="connsiteY14" fmla="*/ 7645035 h 11014461"/>
                <a:gd name="connsiteX15" fmla="*/ 10478981 w 10869557"/>
                <a:gd name="connsiteY15" fmla="*/ 7975059 h 11014461"/>
                <a:gd name="connsiteX16" fmla="*/ 9805235 w 10869557"/>
                <a:gd name="connsiteY16" fmla="*/ 8441647 h 11014461"/>
                <a:gd name="connsiteX17" fmla="*/ 8623737 w 10869557"/>
                <a:gd name="connsiteY17" fmla="*/ 8714775 h 11014461"/>
                <a:gd name="connsiteX18" fmla="*/ 5209433 w 10869557"/>
                <a:gd name="connsiteY18" fmla="*/ 10216285 h 11014461"/>
                <a:gd name="connsiteX19" fmla="*/ 4278172 w 10869557"/>
                <a:gd name="connsiteY19" fmla="*/ 9047920 h 11014461"/>
                <a:gd name="connsiteX20" fmla="*/ 0 w 10869557"/>
                <a:gd name="connsiteY20" fmla="*/ 0 h 11014461"/>
                <a:gd name="connsiteX21" fmla="*/ 29296 w 10869557"/>
                <a:gd name="connsiteY21" fmla="*/ 590651 h 11014461"/>
                <a:gd name="connsiteX22" fmla="*/ 4056269 w 10869557"/>
                <a:gd name="connsiteY22" fmla="*/ 9447119 h 11014461"/>
                <a:gd name="connsiteX23" fmla="*/ 5148356 w 10869557"/>
                <a:gd name="connsiteY23" fmla="*/ 10469331 h 11014461"/>
                <a:gd name="connsiteX24" fmla="*/ 6644613 w 10869557"/>
                <a:gd name="connsiteY24" fmla="*/ 11014461 h 11014461"/>
                <a:gd name="connsiteX25" fmla="*/ 8770201 w 10869557"/>
                <a:gd name="connsiteY25" fmla="*/ 8874095 h 11014461"/>
                <a:gd name="connsiteX26" fmla="*/ 9873585 w 10869557"/>
                <a:gd name="connsiteY26" fmla="*/ 8589593 h 11014461"/>
                <a:gd name="connsiteX27" fmla="*/ 10635210 w 10869557"/>
                <a:gd name="connsiteY27" fmla="*/ 8088865 h 11014461"/>
                <a:gd name="connsiteX28" fmla="*/ 10869557 w 10869557"/>
                <a:gd name="connsiteY28" fmla="*/ 7690559 h 11014461"/>
                <a:gd name="connsiteX29" fmla="*/ 10674271 w 10869557"/>
                <a:gd name="connsiteY29" fmla="*/ 6950848 h 11014461"/>
                <a:gd name="connsiteX30" fmla="*/ 9521221 w 10869557"/>
                <a:gd name="connsiteY30" fmla="*/ 6147842 h 11014461"/>
                <a:gd name="connsiteX31" fmla="*/ 4624687 w 10869557"/>
                <a:gd name="connsiteY31" fmla="*/ 1880899 h 11014461"/>
                <a:gd name="connsiteX32" fmla="*/ 3719572 w 10869557"/>
                <a:gd name="connsiteY32" fmla="*/ 1324587 h 11014461"/>
                <a:gd name="connsiteX33" fmla="*/ 3643373 w 10869557"/>
                <a:gd name="connsiteY33" fmla="*/ 1461763 h 11014461"/>
                <a:gd name="connsiteX0" fmla="*/ 3643373 w 10869557"/>
                <a:gd name="connsiteY0" fmla="*/ 1461763 h 11014461"/>
                <a:gd name="connsiteX1" fmla="*/ 4390729 w 10869557"/>
                <a:gd name="connsiteY1" fmla="*/ 2041573 h 11014461"/>
                <a:gd name="connsiteX2" fmla="*/ 4134030 w 10869557"/>
                <a:gd name="connsiteY2" fmla="*/ 2148262 h 11014461"/>
                <a:gd name="connsiteX3" fmla="*/ 5755428 w 10869557"/>
                <a:gd name="connsiteY3" fmla="*/ 3548546 h 11014461"/>
                <a:gd name="connsiteX4" fmla="*/ 6076725 w 10869557"/>
                <a:gd name="connsiteY4" fmla="*/ 3890160 h 11014461"/>
                <a:gd name="connsiteX5" fmla="*/ 3594109 w 10869557"/>
                <a:gd name="connsiteY5" fmla="*/ 4655430 h 11014461"/>
                <a:gd name="connsiteX6" fmla="*/ 3806285 w 10869557"/>
                <a:gd name="connsiteY6" fmla="*/ 4899329 h 11014461"/>
                <a:gd name="connsiteX7" fmla="*/ 4518988 w 10869557"/>
                <a:gd name="connsiteY7" fmla="*/ 4590004 h 11014461"/>
                <a:gd name="connsiteX8" fmla="*/ 4949900 w 10869557"/>
                <a:gd name="connsiteY8" fmla="*/ 5105127 h 11014461"/>
                <a:gd name="connsiteX9" fmla="*/ 6698217 w 10869557"/>
                <a:gd name="connsiteY9" fmla="*/ 4466933 h 11014461"/>
                <a:gd name="connsiteX10" fmla="*/ 7773200 w 10869557"/>
                <a:gd name="connsiteY10" fmla="*/ 5507812 h 11014461"/>
                <a:gd name="connsiteX11" fmla="*/ 8214195 w 10869557"/>
                <a:gd name="connsiteY11" fmla="*/ 5375115 h 11014461"/>
                <a:gd name="connsiteX12" fmla="*/ 9453715 w 10869557"/>
                <a:gd name="connsiteY12" fmla="*/ 6302170 h 11014461"/>
                <a:gd name="connsiteX13" fmla="*/ 10566863 w 10869557"/>
                <a:gd name="connsiteY13" fmla="*/ 7041884 h 11014461"/>
                <a:gd name="connsiteX14" fmla="*/ 10703565 w 10869557"/>
                <a:gd name="connsiteY14" fmla="*/ 7645035 h 11014461"/>
                <a:gd name="connsiteX15" fmla="*/ 10478981 w 10869557"/>
                <a:gd name="connsiteY15" fmla="*/ 7975059 h 11014461"/>
                <a:gd name="connsiteX16" fmla="*/ 9805235 w 10869557"/>
                <a:gd name="connsiteY16" fmla="*/ 8441647 h 11014461"/>
                <a:gd name="connsiteX17" fmla="*/ 8623737 w 10869557"/>
                <a:gd name="connsiteY17" fmla="*/ 8714775 h 11014461"/>
                <a:gd name="connsiteX18" fmla="*/ 6882399 w 10869557"/>
                <a:gd name="connsiteY18" fmla="*/ 9470200 h 11014461"/>
                <a:gd name="connsiteX19" fmla="*/ 5209433 w 10869557"/>
                <a:gd name="connsiteY19" fmla="*/ 10216285 h 11014461"/>
                <a:gd name="connsiteX20" fmla="*/ 4278172 w 10869557"/>
                <a:gd name="connsiteY20" fmla="*/ 9047920 h 11014461"/>
                <a:gd name="connsiteX21" fmla="*/ 0 w 10869557"/>
                <a:gd name="connsiteY21" fmla="*/ 0 h 11014461"/>
                <a:gd name="connsiteX22" fmla="*/ 29296 w 10869557"/>
                <a:gd name="connsiteY22" fmla="*/ 590651 h 11014461"/>
                <a:gd name="connsiteX23" fmla="*/ 4056269 w 10869557"/>
                <a:gd name="connsiteY23" fmla="*/ 9447119 h 11014461"/>
                <a:gd name="connsiteX24" fmla="*/ 5148356 w 10869557"/>
                <a:gd name="connsiteY24" fmla="*/ 10469331 h 11014461"/>
                <a:gd name="connsiteX25" fmla="*/ 6644613 w 10869557"/>
                <a:gd name="connsiteY25" fmla="*/ 11014461 h 11014461"/>
                <a:gd name="connsiteX26" fmla="*/ 8770201 w 10869557"/>
                <a:gd name="connsiteY26" fmla="*/ 8874095 h 11014461"/>
                <a:gd name="connsiteX27" fmla="*/ 9873585 w 10869557"/>
                <a:gd name="connsiteY27" fmla="*/ 8589593 h 11014461"/>
                <a:gd name="connsiteX28" fmla="*/ 10635210 w 10869557"/>
                <a:gd name="connsiteY28" fmla="*/ 8088865 h 11014461"/>
                <a:gd name="connsiteX29" fmla="*/ 10869557 w 10869557"/>
                <a:gd name="connsiteY29" fmla="*/ 7690559 h 11014461"/>
                <a:gd name="connsiteX30" fmla="*/ 10674271 w 10869557"/>
                <a:gd name="connsiteY30" fmla="*/ 6950848 h 11014461"/>
                <a:gd name="connsiteX31" fmla="*/ 9521221 w 10869557"/>
                <a:gd name="connsiteY31" fmla="*/ 6147842 h 11014461"/>
                <a:gd name="connsiteX32" fmla="*/ 4624687 w 10869557"/>
                <a:gd name="connsiteY32" fmla="*/ 1880899 h 11014461"/>
                <a:gd name="connsiteX33" fmla="*/ 3719572 w 10869557"/>
                <a:gd name="connsiteY33" fmla="*/ 1324587 h 11014461"/>
                <a:gd name="connsiteX34" fmla="*/ 3643373 w 10869557"/>
                <a:gd name="connsiteY34" fmla="*/ 1461763 h 11014461"/>
                <a:gd name="connsiteX0" fmla="*/ 3643373 w 10869557"/>
                <a:gd name="connsiteY0" fmla="*/ 1461763 h 11014461"/>
                <a:gd name="connsiteX1" fmla="*/ 4390729 w 10869557"/>
                <a:gd name="connsiteY1" fmla="*/ 2041573 h 11014461"/>
                <a:gd name="connsiteX2" fmla="*/ 4134030 w 10869557"/>
                <a:gd name="connsiteY2" fmla="*/ 2148262 h 11014461"/>
                <a:gd name="connsiteX3" fmla="*/ 5755428 w 10869557"/>
                <a:gd name="connsiteY3" fmla="*/ 3548546 h 11014461"/>
                <a:gd name="connsiteX4" fmla="*/ 6076725 w 10869557"/>
                <a:gd name="connsiteY4" fmla="*/ 3890160 h 11014461"/>
                <a:gd name="connsiteX5" fmla="*/ 3594109 w 10869557"/>
                <a:gd name="connsiteY5" fmla="*/ 4655430 h 11014461"/>
                <a:gd name="connsiteX6" fmla="*/ 3806285 w 10869557"/>
                <a:gd name="connsiteY6" fmla="*/ 4899329 h 11014461"/>
                <a:gd name="connsiteX7" fmla="*/ 4518988 w 10869557"/>
                <a:gd name="connsiteY7" fmla="*/ 4590004 h 11014461"/>
                <a:gd name="connsiteX8" fmla="*/ 4949900 w 10869557"/>
                <a:gd name="connsiteY8" fmla="*/ 5105127 h 11014461"/>
                <a:gd name="connsiteX9" fmla="*/ 6698217 w 10869557"/>
                <a:gd name="connsiteY9" fmla="*/ 4466933 h 11014461"/>
                <a:gd name="connsiteX10" fmla="*/ 7773200 w 10869557"/>
                <a:gd name="connsiteY10" fmla="*/ 5507812 h 11014461"/>
                <a:gd name="connsiteX11" fmla="*/ 8214195 w 10869557"/>
                <a:gd name="connsiteY11" fmla="*/ 5375115 h 11014461"/>
                <a:gd name="connsiteX12" fmla="*/ 9453715 w 10869557"/>
                <a:gd name="connsiteY12" fmla="*/ 6302170 h 11014461"/>
                <a:gd name="connsiteX13" fmla="*/ 10566863 w 10869557"/>
                <a:gd name="connsiteY13" fmla="*/ 7041884 h 11014461"/>
                <a:gd name="connsiteX14" fmla="*/ 10703565 w 10869557"/>
                <a:gd name="connsiteY14" fmla="*/ 7645035 h 11014461"/>
                <a:gd name="connsiteX15" fmla="*/ 10478981 w 10869557"/>
                <a:gd name="connsiteY15" fmla="*/ 7975059 h 11014461"/>
                <a:gd name="connsiteX16" fmla="*/ 9805235 w 10869557"/>
                <a:gd name="connsiteY16" fmla="*/ 8441647 h 11014461"/>
                <a:gd name="connsiteX17" fmla="*/ 8623737 w 10869557"/>
                <a:gd name="connsiteY17" fmla="*/ 8714775 h 11014461"/>
                <a:gd name="connsiteX18" fmla="*/ 6655710 w 10869557"/>
                <a:gd name="connsiteY18" fmla="*/ 10791196 h 11014461"/>
                <a:gd name="connsiteX19" fmla="*/ 5209433 w 10869557"/>
                <a:gd name="connsiteY19" fmla="*/ 10216285 h 11014461"/>
                <a:gd name="connsiteX20" fmla="*/ 4278172 w 10869557"/>
                <a:gd name="connsiteY20" fmla="*/ 9047920 h 11014461"/>
                <a:gd name="connsiteX21" fmla="*/ 0 w 10869557"/>
                <a:gd name="connsiteY21" fmla="*/ 0 h 11014461"/>
                <a:gd name="connsiteX22" fmla="*/ 29296 w 10869557"/>
                <a:gd name="connsiteY22" fmla="*/ 590651 h 11014461"/>
                <a:gd name="connsiteX23" fmla="*/ 4056269 w 10869557"/>
                <a:gd name="connsiteY23" fmla="*/ 9447119 h 11014461"/>
                <a:gd name="connsiteX24" fmla="*/ 5148356 w 10869557"/>
                <a:gd name="connsiteY24" fmla="*/ 10469331 h 11014461"/>
                <a:gd name="connsiteX25" fmla="*/ 6644613 w 10869557"/>
                <a:gd name="connsiteY25" fmla="*/ 11014461 h 11014461"/>
                <a:gd name="connsiteX26" fmla="*/ 8770201 w 10869557"/>
                <a:gd name="connsiteY26" fmla="*/ 8874095 h 11014461"/>
                <a:gd name="connsiteX27" fmla="*/ 9873585 w 10869557"/>
                <a:gd name="connsiteY27" fmla="*/ 8589593 h 11014461"/>
                <a:gd name="connsiteX28" fmla="*/ 10635210 w 10869557"/>
                <a:gd name="connsiteY28" fmla="*/ 8088865 h 11014461"/>
                <a:gd name="connsiteX29" fmla="*/ 10869557 w 10869557"/>
                <a:gd name="connsiteY29" fmla="*/ 7690559 h 11014461"/>
                <a:gd name="connsiteX30" fmla="*/ 10674271 w 10869557"/>
                <a:gd name="connsiteY30" fmla="*/ 6950848 h 11014461"/>
                <a:gd name="connsiteX31" fmla="*/ 9521221 w 10869557"/>
                <a:gd name="connsiteY31" fmla="*/ 6147842 h 11014461"/>
                <a:gd name="connsiteX32" fmla="*/ 4624687 w 10869557"/>
                <a:gd name="connsiteY32" fmla="*/ 1880899 h 11014461"/>
                <a:gd name="connsiteX33" fmla="*/ 3719572 w 10869557"/>
                <a:gd name="connsiteY33" fmla="*/ 1324587 h 11014461"/>
                <a:gd name="connsiteX34" fmla="*/ 3643373 w 10869557"/>
                <a:gd name="connsiteY34" fmla="*/ 1461763 h 11014461"/>
                <a:gd name="connsiteX0" fmla="*/ 3643373 w 10869557"/>
                <a:gd name="connsiteY0" fmla="*/ 1461763 h 11014461"/>
                <a:gd name="connsiteX1" fmla="*/ 4390729 w 10869557"/>
                <a:gd name="connsiteY1" fmla="*/ 2041573 h 11014461"/>
                <a:gd name="connsiteX2" fmla="*/ 4134030 w 10869557"/>
                <a:gd name="connsiteY2" fmla="*/ 2148262 h 11014461"/>
                <a:gd name="connsiteX3" fmla="*/ 5755428 w 10869557"/>
                <a:gd name="connsiteY3" fmla="*/ 3548546 h 11014461"/>
                <a:gd name="connsiteX4" fmla="*/ 6076725 w 10869557"/>
                <a:gd name="connsiteY4" fmla="*/ 3890160 h 11014461"/>
                <a:gd name="connsiteX5" fmla="*/ 3594109 w 10869557"/>
                <a:gd name="connsiteY5" fmla="*/ 4655430 h 11014461"/>
                <a:gd name="connsiteX6" fmla="*/ 3806285 w 10869557"/>
                <a:gd name="connsiteY6" fmla="*/ 4899329 h 11014461"/>
                <a:gd name="connsiteX7" fmla="*/ 4518988 w 10869557"/>
                <a:gd name="connsiteY7" fmla="*/ 4590004 h 11014461"/>
                <a:gd name="connsiteX8" fmla="*/ 4949900 w 10869557"/>
                <a:gd name="connsiteY8" fmla="*/ 5105127 h 11014461"/>
                <a:gd name="connsiteX9" fmla="*/ 6698217 w 10869557"/>
                <a:gd name="connsiteY9" fmla="*/ 4466933 h 11014461"/>
                <a:gd name="connsiteX10" fmla="*/ 7773200 w 10869557"/>
                <a:gd name="connsiteY10" fmla="*/ 5507812 h 11014461"/>
                <a:gd name="connsiteX11" fmla="*/ 8214195 w 10869557"/>
                <a:gd name="connsiteY11" fmla="*/ 5375115 h 11014461"/>
                <a:gd name="connsiteX12" fmla="*/ 9453715 w 10869557"/>
                <a:gd name="connsiteY12" fmla="*/ 6302170 h 11014461"/>
                <a:gd name="connsiteX13" fmla="*/ 10566863 w 10869557"/>
                <a:gd name="connsiteY13" fmla="*/ 7041884 h 11014461"/>
                <a:gd name="connsiteX14" fmla="*/ 10703565 w 10869557"/>
                <a:gd name="connsiteY14" fmla="*/ 7645035 h 11014461"/>
                <a:gd name="connsiteX15" fmla="*/ 10478981 w 10869557"/>
                <a:gd name="connsiteY15" fmla="*/ 7975059 h 11014461"/>
                <a:gd name="connsiteX16" fmla="*/ 9805235 w 10869557"/>
                <a:gd name="connsiteY16" fmla="*/ 8441647 h 11014461"/>
                <a:gd name="connsiteX17" fmla="*/ 8623737 w 10869557"/>
                <a:gd name="connsiteY17" fmla="*/ 8714775 h 11014461"/>
                <a:gd name="connsiteX18" fmla="*/ 6655710 w 10869557"/>
                <a:gd name="connsiteY18" fmla="*/ 10791196 h 11014461"/>
                <a:gd name="connsiteX19" fmla="*/ 5209433 w 10869557"/>
                <a:gd name="connsiteY19" fmla="*/ 10216285 h 11014461"/>
                <a:gd name="connsiteX20" fmla="*/ 4278172 w 10869557"/>
                <a:gd name="connsiteY20" fmla="*/ 9047920 h 11014461"/>
                <a:gd name="connsiteX21" fmla="*/ 0 w 10869557"/>
                <a:gd name="connsiteY21" fmla="*/ 0 h 11014461"/>
                <a:gd name="connsiteX22" fmla="*/ 29296 w 10869557"/>
                <a:gd name="connsiteY22" fmla="*/ 590651 h 11014461"/>
                <a:gd name="connsiteX23" fmla="*/ 4056269 w 10869557"/>
                <a:gd name="connsiteY23" fmla="*/ 9447119 h 11014461"/>
                <a:gd name="connsiteX24" fmla="*/ 5148356 w 10869557"/>
                <a:gd name="connsiteY24" fmla="*/ 10469331 h 11014461"/>
                <a:gd name="connsiteX25" fmla="*/ 6644613 w 10869557"/>
                <a:gd name="connsiteY25" fmla="*/ 11014461 h 11014461"/>
                <a:gd name="connsiteX26" fmla="*/ 8515178 w 10869557"/>
                <a:gd name="connsiteY26" fmla="*/ 10954661 h 11014461"/>
                <a:gd name="connsiteX27" fmla="*/ 9873585 w 10869557"/>
                <a:gd name="connsiteY27" fmla="*/ 8589593 h 11014461"/>
                <a:gd name="connsiteX28" fmla="*/ 10635210 w 10869557"/>
                <a:gd name="connsiteY28" fmla="*/ 8088865 h 11014461"/>
                <a:gd name="connsiteX29" fmla="*/ 10869557 w 10869557"/>
                <a:gd name="connsiteY29" fmla="*/ 7690559 h 11014461"/>
                <a:gd name="connsiteX30" fmla="*/ 10674271 w 10869557"/>
                <a:gd name="connsiteY30" fmla="*/ 6950848 h 11014461"/>
                <a:gd name="connsiteX31" fmla="*/ 9521221 w 10869557"/>
                <a:gd name="connsiteY31" fmla="*/ 6147842 h 11014461"/>
                <a:gd name="connsiteX32" fmla="*/ 4624687 w 10869557"/>
                <a:gd name="connsiteY32" fmla="*/ 1880899 h 11014461"/>
                <a:gd name="connsiteX33" fmla="*/ 3719572 w 10869557"/>
                <a:gd name="connsiteY33" fmla="*/ 1324587 h 11014461"/>
                <a:gd name="connsiteX34" fmla="*/ 3643373 w 10869557"/>
                <a:gd name="connsiteY34" fmla="*/ 1461763 h 11014461"/>
                <a:gd name="connsiteX0" fmla="*/ 3643373 w 10869557"/>
                <a:gd name="connsiteY0" fmla="*/ 1461763 h 11014461"/>
                <a:gd name="connsiteX1" fmla="*/ 4390729 w 10869557"/>
                <a:gd name="connsiteY1" fmla="*/ 2041573 h 11014461"/>
                <a:gd name="connsiteX2" fmla="*/ 4134030 w 10869557"/>
                <a:gd name="connsiteY2" fmla="*/ 2148262 h 11014461"/>
                <a:gd name="connsiteX3" fmla="*/ 5755428 w 10869557"/>
                <a:gd name="connsiteY3" fmla="*/ 3548546 h 11014461"/>
                <a:gd name="connsiteX4" fmla="*/ 6076725 w 10869557"/>
                <a:gd name="connsiteY4" fmla="*/ 3890160 h 11014461"/>
                <a:gd name="connsiteX5" fmla="*/ 3594109 w 10869557"/>
                <a:gd name="connsiteY5" fmla="*/ 4655430 h 11014461"/>
                <a:gd name="connsiteX6" fmla="*/ 3806285 w 10869557"/>
                <a:gd name="connsiteY6" fmla="*/ 4899329 h 11014461"/>
                <a:gd name="connsiteX7" fmla="*/ 4518988 w 10869557"/>
                <a:gd name="connsiteY7" fmla="*/ 4590004 h 11014461"/>
                <a:gd name="connsiteX8" fmla="*/ 4949900 w 10869557"/>
                <a:gd name="connsiteY8" fmla="*/ 5105127 h 11014461"/>
                <a:gd name="connsiteX9" fmla="*/ 6698217 w 10869557"/>
                <a:gd name="connsiteY9" fmla="*/ 4466933 h 11014461"/>
                <a:gd name="connsiteX10" fmla="*/ 7773200 w 10869557"/>
                <a:gd name="connsiteY10" fmla="*/ 5507812 h 11014461"/>
                <a:gd name="connsiteX11" fmla="*/ 8214195 w 10869557"/>
                <a:gd name="connsiteY11" fmla="*/ 5375115 h 11014461"/>
                <a:gd name="connsiteX12" fmla="*/ 9453715 w 10869557"/>
                <a:gd name="connsiteY12" fmla="*/ 6302170 h 11014461"/>
                <a:gd name="connsiteX13" fmla="*/ 10566863 w 10869557"/>
                <a:gd name="connsiteY13" fmla="*/ 7041884 h 11014461"/>
                <a:gd name="connsiteX14" fmla="*/ 10703565 w 10869557"/>
                <a:gd name="connsiteY14" fmla="*/ 7645035 h 11014461"/>
                <a:gd name="connsiteX15" fmla="*/ 10478981 w 10869557"/>
                <a:gd name="connsiteY15" fmla="*/ 7975059 h 11014461"/>
                <a:gd name="connsiteX16" fmla="*/ 9805235 w 10869557"/>
                <a:gd name="connsiteY16" fmla="*/ 8441647 h 11014461"/>
                <a:gd name="connsiteX17" fmla="*/ 8425383 w 10869557"/>
                <a:gd name="connsiteY17" fmla="*/ 10729290 h 11014461"/>
                <a:gd name="connsiteX18" fmla="*/ 6655710 w 10869557"/>
                <a:gd name="connsiteY18" fmla="*/ 10791196 h 11014461"/>
                <a:gd name="connsiteX19" fmla="*/ 5209433 w 10869557"/>
                <a:gd name="connsiteY19" fmla="*/ 10216285 h 11014461"/>
                <a:gd name="connsiteX20" fmla="*/ 4278172 w 10869557"/>
                <a:gd name="connsiteY20" fmla="*/ 9047920 h 11014461"/>
                <a:gd name="connsiteX21" fmla="*/ 0 w 10869557"/>
                <a:gd name="connsiteY21" fmla="*/ 0 h 11014461"/>
                <a:gd name="connsiteX22" fmla="*/ 29296 w 10869557"/>
                <a:gd name="connsiteY22" fmla="*/ 590651 h 11014461"/>
                <a:gd name="connsiteX23" fmla="*/ 4056269 w 10869557"/>
                <a:gd name="connsiteY23" fmla="*/ 9447119 h 11014461"/>
                <a:gd name="connsiteX24" fmla="*/ 5148356 w 10869557"/>
                <a:gd name="connsiteY24" fmla="*/ 10469331 h 11014461"/>
                <a:gd name="connsiteX25" fmla="*/ 6644613 w 10869557"/>
                <a:gd name="connsiteY25" fmla="*/ 11014461 h 11014461"/>
                <a:gd name="connsiteX26" fmla="*/ 8515178 w 10869557"/>
                <a:gd name="connsiteY26" fmla="*/ 10954661 h 11014461"/>
                <a:gd name="connsiteX27" fmla="*/ 9873585 w 10869557"/>
                <a:gd name="connsiteY27" fmla="*/ 8589593 h 11014461"/>
                <a:gd name="connsiteX28" fmla="*/ 10635210 w 10869557"/>
                <a:gd name="connsiteY28" fmla="*/ 8088865 h 11014461"/>
                <a:gd name="connsiteX29" fmla="*/ 10869557 w 10869557"/>
                <a:gd name="connsiteY29" fmla="*/ 7690559 h 11014461"/>
                <a:gd name="connsiteX30" fmla="*/ 10674271 w 10869557"/>
                <a:gd name="connsiteY30" fmla="*/ 6950848 h 11014461"/>
                <a:gd name="connsiteX31" fmla="*/ 9521221 w 10869557"/>
                <a:gd name="connsiteY31" fmla="*/ 6147842 h 11014461"/>
                <a:gd name="connsiteX32" fmla="*/ 4624687 w 10869557"/>
                <a:gd name="connsiteY32" fmla="*/ 1880899 h 11014461"/>
                <a:gd name="connsiteX33" fmla="*/ 3719572 w 10869557"/>
                <a:gd name="connsiteY33" fmla="*/ 1324587 h 11014461"/>
                <a:gd name="connsiteX34" fmla="*/ 3643373 w 10869557"/>
                <a:gd name="connsiteY34" fmla="*/ 1461763 h 11014461"/>
                <a:gd name="connsiteX0" fmla="*/ 3643373 w 10869557"/>
                <a:gd name="connsiteY0" fmla="*/ 1461763 h 11014461"/>
                <a:gd name="connsiteX1" fmla="*/ 4390729 w 10869557"/>
                <a:gd name="connsiteY1" fmla="*/ 2041573 h 11014461"/>
                <a:gd name="connsiteX2" fmla="*/ 4134030 w 10869557"/>
                <a:gd name="connsiteY2" fmla="*/ 2148262 h 11014461"/>
                <a:gd name="connsiteX3" fmla="*/ 5755428 w 10869557"/>
                <a:gd name="connsiteY3" fmla="*/ 3548546 h 11014461"/>
                <a:gd name="connsiteX4" fmla="*/ 6076725 w 10869557"/>
                <a:gd name="connsiteY4" fmla="*/ 3890160 h 11014461"/>
                <a:gd name="connsiteX5" fmla="*/ 3594109 w 10869557"/>
                <a:gd name="connsiteY5" fmla="*/ 4655430 h 11014461"/>
                <a:gd name="connsiteX6" fmla="*/ 3806285 w 10869557"/>
                <a:gd name="connsiteY6" fmla="*/ 4899329 h 11014461"/>
                <a:gd name="connsiteX7" fmla="*/ 4518988 w 10869557"/>
                <a:gd name="connsiteY7" fmla="*/ 4590004 h 11014461"/>
                <a:gd name="connsiteX8" fmla="*/ 4949900 w 10869557"/>
                <a:gd name="connsiteY8" fmla="*/ 5105127 h 11014461"/>
                <a:gd name="connsiteX9" fmla="*/ 6698217 w 10869557"/>
                <a:gd name="connsiteY9" fmla="*/ 4466933 h 11014461"/>
                <a:gd name="connsiteX10" fmla="*/ 7773200 w 10869557"/>
                <a:gd name="connsiteY10" fmla="*/ 5507812 h 11014461"/>
                <a:gd name="connsiteX11" fmla="*/ 8214195 w 10869557"/>
                <a:gd name="connsiteY11" fmla="*/ 5375115 h 11014461"/>
                <a:gd name="connsiteX12" fmla="*/ 9453715 w 10869557"/>
                <a:gd name="connsiteY12" fmla="*/ 6302170 h 11014461"/>
                <a:gd name="connsiteX13" fmla="*/ 10566863 w 10869557"/>
                <a:gd name="connsiteY13" fmla="*/ 7041884 h 11014461"/>
                <a:gd name="connsiteX14" fmla="*/ 10703565 w 10869557"/>
                <a:gd name="connsiteY14" fmla="*/ 7645035 h 11014461"/>
                <a:gd name="connsiteX15" fmla="*/ 10478981 w 10869557"/>
                <a:gd name="connsiteY15" fmla="*/ 7975059 h 11014461"/>
                <a:gd name="connsiteX16" fmla="*/ 9805235 w 10869557"/>
                <a:gd name="connsiteY16" fmla="*/ 8441647 h 11014461"/>
                <a:gd name="connsiteX17" fmla="*/ 8425383 w 10869557"/>
                <a:gd name="connsiteY17" fmla="*/ 10729290 h 11014461"/>
                <a:gd name="connsiteX18" fmla="*/ 6655710 w 10869557"/>
                <a:gd name="connsiteY18" fmla="*/ 10791196 h 11014461"/>
                <a:gd name="connsiteX19" fmla="*/ 5209433 w 10869557"/>
                <a:gd name="connsiteY19" fmla="*/ 10216285 h 11014461"/>
                <a:gd name="connsiteX20" fmla="*/ 4278172 w 10869557"/>
                <a:gd name="connsiteY20" fmla="*/ 9047920 h 11014461"/>
                <a:gd name="connsiteX21" fmla="*/ 0 w 10869557"/>
                <a:gd name="connsiteY21" fmla="*/ 0 h 11014461"/>
                <a:gd name="connsiteX22" fmla="*/ 29296 w 10869557"/>
                <a:gd name="connsiteY22" fmla="*/ 590651 h 11014461"/>
                <a:gd name="connsiteX23" fmla="*/ 4056269 w 10869557"/>
                <a:gd name="connsiteY23" fmla="*/ 9447119 h 11014461"/>
                <a:gd name="connsiteX24" fmla="*/ 5148356 w 10869557"/>
                <a:gd name="connsiteY24" fmla="*/ 10469331 h 11014461"/>
                <a:gd name="connsiteX25" fmla="*/ 6644613 w 10869557"/>
                <a:gd name="connsiteY25" fmla="*/ 11014461 h 11014461"/>
                <a:gd name="connsiteX26" fmla="*/ 8515178 w 10869557"/>
                <a:gd name="connsiteY26" fmla="*/ 10954661 h 11014461"/>
                <a:gd name="connsiteX27" fmla="*/ 10015263 w 10869557"/>
                <a:gd name="connsiteY27" fmla="*/ 10141763 h 11014461"/>
                <a:gd name="connsiteX28" fmla="*/ 10635210 w 10869557"/>
                <a:gd name="connsiteY28" fmla="*/ 8088865 h 11014461"/>
                <a:gd name="connsiteX29" fmla="*/ 10869557 w 10869557"/>
                <a:gd name="connsiteY29" fmla="*/ 7690559 h 11014461"/>
                <a:gd name="connsiteX30" fmla="*/ 10674271 w 10869557"/>
                <a:gd name="connsiteY30" fmla="*/ 6950848 h 11014461"/>
                <a:gd name="connsiteX31" fmla="*/ 9521221 w 10869557"/>
                <a:gd name="connsiteY31" fmla="*/ 6147842 h 11014461"/>
                <a:gd name="connsiteX32" fmla="*/ 4624687 w 10869557"/>
                <a:gd name="connsiteY32" fmla="*/ 1880899 h 11014461"/>
                <a:gd name="connsiteX33" fmla="*/ 3719572 w 10869557"/>
                <a:gd name="connsiteY33" fmla="*/ 1324587 h 11014461"/>
                <a:gd name="connsiteX34" fmla="*/ 3643373 w 10869557"/>
                <a:gd name="connsiteY34" fmla="*/ 1461763 h 11014461"/>
                <a:gd name="connsiteX0" fmla="*/ 3643373 w 10869557"/>
                <a:gd name="connsiteY0" fmla="*/ 1461763 h 11014461"/>
                <a:gd name="connsiteX1" fmla="*/ 4390729 w 10869557"/>
                <a:gd name="connsiteY1" fmla="*/ 2041573 h 11014461"/>
                <a:gd name="connsiteX2" fmla="*/ 4134030 w 10869557"/>
                <a:gd name="connsiteY2" fmla="*/ 2148262 h 11014461"/>
                <a:gd name="connsiteX3" fmla="*/ 5755428 w 10869557"/>
                <a:gd name="connsiteY3" fmla="*/ 3548546 h 11014461"/>
                <a:gd name="connsiteX4" fmla="*/ 6076725 w 10869557"/>
                <a:gd name="connsiteY4" fmla="*/ 3890160 h 11014461"/>
                <a:gd name="connsiteX5" fmla="*/ 3594109 w 10869557"/>
                <a:gd name="connsiteY5" fmla="*/ 4655430 h 11014461"/>
                <a:gd name="connsiteX6" fmla="*/ 3806285 w 10869557"/>
                <a:gd name="connsiteY6" fmla="*/ 4899329 h 11014461"/>
                <a:gd name="connsiteX7" fmla="*/ 4518988 w 10869557"/>
                <a:gd name="connsiteY7" fmla="*/ 4590004 h 11014461"/>
                <a:gd name="connsiteX8" fmla="*/ 4949900 w 10869557"/>
                <a:gd name="connsiteY8" fmla="*/ 5105127 h 11014461"/>
                <a:gd name="connsiteX9" fmla="*/ 6698217 w 10869557"/>
                <a:gd name="connsiteY9" fmla="*/ 4466933 h 11014461"/>
                <a:gd name="connsiteX10" fmla="*/ 7773200 w 10869557"/>
                <a:gd name="connsiteY10" fmla="*/ 5507812 h 11014461"/>
                <a:gd name="connsiteX11" fmla="*/ 8214195 w 10869557"/>
                <a:gd name="connsiteY11" fmla="*/ 5375115 h 11014461"/>
                <a:gd name="connsiteX12" fmla="*/ 9453715 w 10869557"/>
                <a:gd name="connsiteY12" fmla="*/ 6302170 h 11014461"/>
                <a:gd name="connsiteX13" fmla="*/ 10566863 w 10869557"/>
                <a:gd name="connsiteY13" fmla="*/ 7041884 h 11014461"/>
                <a:gd name="connsiteX14" fmla="*/ 10703565 w 10869557"/>
                <a:gd name="connsiteY14" fmla="*/ 7645035 h 11014461"/>
                <a:gd name="connsiteX15" fmla="*/ 10478981 w 10869557"/>
                <a:gd name="connsiteY15" fmla="*/ 7975059 h 11014461"/>
                <a:gd name="connsiteX16" fmla="*/ 9833571 w 10869557"/>
                <a:gd name="connsiteY16" fmla="*/ 9993815 h 11014461"/>
                <a:gd name="connsiteX17" fmla="*/ 8425383 w 10869557"/>
                <a:gd name="connsiteY17" fmla="*/ 10729290 h 11014461"/>
                <a:gd name="connsiteX18" fmla="*/ 6655710 w 10869557"/>
                <a:gd name="connsiteY18" fmla="*/ 10791196 h 11014461"/>
                <a:gd name="connsiteX19" fmla="*/ 5209433 w 10869557"/>
                <a:gd name="connsiteY19" fmla="*/ 10216285 h 11014461"/>
                <a:gd name="connsiteX20" fmla="*/ 4278172 w 10869557"/>
                <a:gd name="connsiteY20" fmla="*/ 9047920 h 11014461"/>
                <a:gd name="connsiteX21" fmla="*/ 0 w 10869557"/>
                <a:gd name="connsiteY21" fmla="*/ 0 h 11014461"/>
                <a:gd name="connsiteX22" fmla="*/ 29296 w 10869557"/>
                <a:gd name="connsiteY22" fmla="*/ 590651 h 11014461"/>
                <a:gd name="connsiteX23" fmla="*/ 4056269 w 10869557"/>
                <a:gd name="connsiteY23" fmla="*/ 9447119 h 11014461"/>
                <a:gd name="connsiteX24" fmla="*/ 5148356 w 10869557"/>
                <a:gd name="connsiteY24" fmla="*/ 10469331 h 11014461"/>
                <a:gd name="connsiteX25" fmla="*/ 6644613 w 10869557"/>
                <a:gd name="connsiteY25" fmla="*/ 11014461 h 11014461"/>
                <a:gd name="connsiteX26" fmla="*/ 8515178 w 10869557"/>
                <a:gd name="connsiteY26" fmla="*/ 10954661 h 11014461"/>
                <a:gd name="connsiteX27" fmla="*/ 10015263 w 10869557"/>
                <a:gd name="connsiteY27" fmla="*/ 10141763 h 11014461"/>
                <a:gd name="connsiteX28" fmla="*/ 10635210 w 10869557"/>
                <a:gd name="connsiteY28" fmla="*/ 8088865 h 11014461"/>
                <a:gd name="connsiteX29" fmla="*/ 10869557 w 10869557"/>
                <a:gd name="connsiteY29" fmla="*/ 7690559 h 11014461"/>
                <a:gd name="connsiteX30" fmla="*/ 10674271 w 10869557"/>
                <a:gd name="connsiteY30" fmla="*/ 6950848 h 11014461"/>
                <a:gd name="connsiteX31" fmla="*/ 9521221 w 10869557"/>
                <a:gd name="connsiteY31" fmla="*/ 6147842 h 11014461"/>
                <a:gd name="connsiteX32" fmla="*/ 4624687 w 10869557"/>
                <a:gd name="connsiteY32" fmla="*/ 1880899 h 11014461"/>
                <a:gd name="connsiteX33" fmla="*/ 3719572 w 10869557"/>
                <a:gd name="connsiteY33" fmla="*/ 1324587 h 11014461"/>
                <a:gd name="connsiteX34" fmla="*/ 3643373 w 10869557"/>
                <a:gd name="connsiteY34" fmla="*/ 1461763 h 11014461"/>
                <a:gd name="connsiteX0" fmla="*/ 3643373 w 10876067"/>
                <a:gd name="connsiteY0" fmla="*/ 1461763 h 11014461"/>
                <a:gd name="connsiteX1" fmla="*/ 4390729 w 10876067"/>
                <a:gd name="connsiteY1" fmla="*/ 2041573 h 11014461"/>
                <a:gd name="connsiteX2" fmla="*/ 4134030 w 10876067"/>
                <a:gd name="connsiteY2" fmla="*/ 2148262 h 11014461"/>
                <a:gd name="connsiteX3" fmla="*/ 5755428 w 10876067"/>
                <a:gd name="connsiteY3" fmla="*/ 3548546 h 11014461"/>
                <a:gd name="connsiteX4" fmla="*/ 6076725 w 10876067"/>
                <a:gd name="connsiteY4" fmla="*/ 3890160 h 11014461"/>
                <a:gd name="connsiteX5" fmla="*/ 3594109 w 10876067"/>
                <a:gd name="connsiteY5" fmla="*/ 4655430 h 11014461"/>
                <a:gd name="connsiteX6" fmla="*/ 3806285 w 10876067"/>
                <a:gd name="connsiteY6" fmla="*/ 4899329 h 11014461"/>
                <a:gd name="connsiteX7" fmla="*/ 4518988 w 10876067"/>
                <a:gd name="connsiteY7" fmla="*/ 4590004 h 11014461"/>
                <a:gd name="connsiteX8" fmla="*/ 4949900 w 10876067"/>
                <a:gd name="connsiteY8" fmla="*/ 5105127 h 11014461"/>
                <a:gd name="connsiteX9" fmla="*/ 6698217 w 10876067"/>
                <a:gd name="connsiteY9" fmla="*/ 4466933 h 11014461"/>
                <a:gd name="connsiteX10" fmla="*/ 7773200 w 10876067"/>
                <a:gd name="connsiteY10" fmla="*/ 5507812 h 11014461"/>
                <a:gd name="connsiteX11" fmla="*/ 8214195 w 10876067"/>
                <a:gd name="connsiteY11" fmla="*/ 5375115 h 11014461"/>
                <a:gd name="connsiteX12" fmla="*/ 9453715 w 10876067"/>
                <a:gd name="connsiteY12" fmla="*/ 6302170 h 11014461"/>
                <a:gd name="connsiteX13" fmla="*/ 10566863 w 10876067"/>
                <a:gd name="connsiteY13" fmla="*/ 7041884 h 11014461"/>
                <a:gd name="connsiteX14" fmla="*/ 10703565 w 10876067"/>
                <a:gd name="connsiteY14" fmla="*/ 7645035 h 11014461"/>
                <a:gd name="connsiteX15" fmla="*/ 10478981 w 10876067"/>
                <a:gd name="connsiteY15" fmla="*/ 7975059 h 11014461"/>
                <a:gd name="connsiteX16" fmla="*/ 9833571 w 10876067"/>
                <a:gd name="connsiteY16" fmla="*/ 9993815 h 11014461"/>
                <a:gd name="connsiteX17" fmla="*/ 8425383 w 10876067"/>
                <a:gd name="connsiteY17" fmla="*/ 10729290 h 11014461"/>
                <a:gd name="connsiteX18" fmla="*/ 6655710 w 10876067"/>
                <a:gd name="connsiteY18" fmla="*/ 10791196 h 11014461"/>
                <a:gd name="connsiteX19" fmla="*/ 5209433 w 10876067"/>
                <a:gd name="connsiteY19" fmla="*/ 10216285 h 11014461"/>
                <a:gd name="connsiteX20" fmla="*/ 4278172 w 10876067"/>
                <a:gd name="connsiteY20" fmla="*/ 9047920 h 11014461"/>
                <a:gd name="connsiteX21" fmla="*/ 0 w 10876067"/>
                <a:gd name="connsiteY21" fmla="*/ 0 h 11014461"/>
                <a:gd name="connsiteX22" fmla="*/ 29296 w 10876067"/>
                <a:gd name="connsiteY22" fmla="*/ 590651 h 11014461"/>
                <a:gd name="connsiteX23" fmla="*/ 4056269 w 10876067"/>
                <a:gd name="connsiteY23" fmla="*/ 9447119 h 11014461"/>
                <a:gd name="connsiteX24" fmla="*/ 5148356 w 10876067"/>
                <a:gd name="connsiteY24" fmla="*/ 10469331 h 11014461"/>
                <a:gd name="connsiteX25" fmla="*/ 6644613 w 10876067"/>
                <a:gd name="connsiteY25" fmla="*/ 11014461 h 11014461"/>
                <a:gd name="connsiteX26" fmla="*/ 8515178 w 10876067"/>
                <a:gd name="connsiteY26" fmla="*/ 10954661 h 11014461"/>
                <a:gd name="connsiteX27" fmla="*/ 10015263 w 10876067"/>
                <a:gd name="connsiteY27" fmla="*/ 10141763 h 11014461"/>
                <a:gd name="connsiteX28" fmla="*/ 10876067 w 10876067"/>
                <a:gd name="connsiteY28" fmla="*/ 8997049 h 11014461"/>
                <a:gd name="connsiteX29" fmla="*/ 10869557 w 10876067"/>
                <a:gd name="connsiteY29" fmla="*/ 7690559 h 11014461"/>
                <a:gd name="connsiteX30" fmla="*/ 10674271 w 10876067"/>
                <a:gd name="connsiteY30" fmla="*/ 6950848 h 11014461"/>
                <a:gd name="connsiteX31" fmla="*/ 9521221 w 10876067"/>
                <a:gd name="connsiteY31" fmla="*/ 6147842 h 11014461"/>
                <a:gd name="connsiteX32" fmla="*/ 4624687 w 10876067"/>
                <a:gd name="connsiteY32" fmla="*/ 1880899 h 11014461"/>
                <a:gd name="connsiteX33" fmla="*/ 3719572 w 10876067"/>
                <a:gd name="connsiteY33" fmla="*/ 1324587 h 11014461"/>
                <a:gd name="connsiteX34" fmla="*/ 3643373 w 10876067"/>
                <a:gd name="connsiteY34" fmla="*/ 1461763 h 11014461"/>
                <a:gd name="connsiteX0" fmla="*/ 3643373 w 10876067"/>
                <a:gd name="connsiteY0" fmla="*/ 1461763 h 11014461"/>
                <a:gd name="connsiteX1" fmla="*/ 4390729 w 10876067"/>
                <a:gd name="connsiteY1" fmla="*/ 2041573 h 11014461"/>
                <a:gd name="connsiteX2" fmla="*/ 4134030 w 10876067"/>
                <a:gd name="connsiteY2" fmla="*/ 2148262 h 11014461"/>
                <a:gd name="connsiteX3" fmla="*/ 5755428 w 10876067"/>
                <a:gd name="connsiteY3" fmla="*/ 3548546 h 11014461"/>
                <a:gd name="connsiteX4" fmla="*/ 6076725 w 10876067"/>
                <a:gd name="connsiteY4" fmla="*/ 3890160 h 11014461"/>
                <a:gd name="connsiteX5" fmla="*/ 3594109 w 10876067"/>
                <a:gd name="connsiteY5" fmla="*/ 4655430 h 11014461"/>
                <a:gd name="connsiteX6" fmla="*/ 3806285 w 10876067"/>
                <a:gd name="connsiteY6" fmla="*/ 4899329 h 11014461"/>
                <a:gd name="connsiteX7" fmla="*/ 4518988 w 10876067"/>
                <a:gd name="connsiteY7" fmla="*/ 4590004 h 11014461"/>
                <a:gd name="connsiteX8" fmla="*/ 4949900 w 10876067"/>
                <a:gd name="connsiteY8" fmla="*/ 5105127 h 11014461"/>
                <a:gd name="connsiteX9" fmla="*/ 6698217 w 10876067"/>
                <a:gd name="connsiteY9" fmla="*/ 4466933 h 11014461"/>
                <a:gd name="connsiteX10" fmla="*/ 7773200 w 10876067"/>
                <a:gd name="connsiteY10" fmla="*/ 5507812 h 11014461"/>
                <a:gd name="connsiteX11" fmla="*/ 8214195 w 10876067"/>
                <a:gd name="connsiteY11" fmla="*/ 5375115 h 11014461"/>
                <a:gd name="connsiteX12" fmla="*/ 9453715 w 10876067"/>
                <a:gd name="connsiteY12" fmla="*/ 6302170 h 11014461"/>
                <a:gd name="connsiteX13" fmla="*/ 10566863 w 10876067"/>
                <a:gd name="connsiteY13" fmla="*/ 7041884 h 11014461"/>
                <a:gd name="connsiteX14" fmla="*/ 10703565 w 10876067"/>
                <a:gd name="connsiteY14" fmla="*/ 7645035 h 11014461"/>
                <a:gd name="connsiteX15" fmla="*/ 10677334 w 10876067"/>
                <a:gd name="connsiteY15" fmla="*/ 8916268 h 11014461"/>
                <a:gd name="connsiteX16" fmla="*/ 9833571 w 10876067"/>
                <a:gd name="connsiteY16" fmla="*/ 9993815 h 11014461"/>
                <a:gd name="connsiteX17" fmla="*/ 8425383 w 10876067"/>
                <a:gd name="connsiteY17" fmla="*/ 10729290 h 11014461"/>
                <a:gd name="connsiteX18" fmla="*/ 6655710 w 10876067"/>
                <a:gd name="connsiteY18" fmla="*/ 10791196 h 11014461"/>
                <a:gd name="connsiteX19" fmla="*/ 5209433 w 10876067"/>
                <a:gd name="connsiteY19" fmla="*/ 10216285 h 11014461"/>
                <a:gd name="connsiteX20" fmla="*/ 4278172 w 10876067"/>
                <a:gd name="connsiteY20" fmla="*/ 9047920 h 11014461"/>
                <a:gd name="connsiteX21" fmla="*/ 0 w 10876067"/>
                <a:gd name="connsiteY21" fmla="*/ 0 h 11014461"/>
                <a:gd name="connsiteX22" fmla="*/ 29296 w 10876067"/>
                <a:gd name="connsiteY22" fmla="*/ 590651 h 11014461"/>
                <a:gd name="connsiteX23" fmla="*/ 4056269 w 10876067"/>
                <a:gd name="connsiteY23" fmla="*/ 9447119 h 11014461"/>
                <a:gd name="connsiteX24" fmla="*/ 5148356 w 10876067"/>
                <a:gd name="connsiteY24" fmla="*/ 10469331 h 11014461"/>
                <a:gd name="connsiteX25" fmla="*/ 6644613 w 10876067"/>
                <a:gd name="connsiteY25" fmla="*/ 11014461 h 11014461"/>
                <a:gd name="connsiteX26" fmla="*/ 8515178 w 10876067"/>
                <a:gd name="connsiteY26" fmla="*/ 10954661 h 11014461"/>
                <a:gd name="connsiteX27" fmla="*/ 10015263 w 10876067"/>
                <a:gd name="connsiteY27" fmla="*/ 10141763 h 11014461"/>
                <a:gd name="connsiteX28" fmla="*/ 10876067 w 10876067"/>
                <a:gd name="connsiteY28" fmla="*/ 8997049 h 11014461"/>
                <a:gd name="connsiteX29" fmla="*/ 10869557 w 10876067"/>
                <a:gd name="connsiteY29" fmla="*/ 7690559 h 11014461"/>
                <a:gd name="connsiteX30" fmla="*/ 10674271 w 10876067"/>
                <a:gd name="connsiteY30" fmla="*/ 6950848 h 11014461"/>
                <a:gd name="connsiteX31" fmla="*/ 9521221 w 10876067"/>
                <a:gd name="connsiteY31" fmla="*/ 6147842 h 11014461"/>
                <a:gd name="connsiteX32" fmla="*/ 4624687 w 10876067"/>
                <a:gd name="connsiteY32" fmla="*/ 1880899 h 11014461"/>
                <a:gd name="connsiteX33" fmla="*/ 3719572 w 10876067"/>
                <a:gd name="connsiteY33" fmla="*/ 1324587 h 11014461"/>
                <a:gd name="connsiteX34" fmla="*/ 3643373 w 10876067"/>
                <a:gd name="connsiteY34" fmla="*/ 1461763 h 11014461"/>
                <a:gd name="connsiteX0" fmla="*/ 3643373 w 10876067"/>
                <a:gd name="connsiteY0" fmla="*/ 1461763 h 11014461"/>
                <a:gd name="connsiteX1" fmla="*/ 4390729 w 10876067"/>
                <a:gd name="connsiteY1" fmla="*/ 2041573 h 11014461"/>
                <a:gd name="connsiteX2" fmla="*/ 4134030 w 10876067"/>
                <a:gd name="connsiteY2" fmla="*/ 2148262 h 11014461"/>
                <a:gd name="connsiteX3" fmla="*/ 5755428 w 10876067"/>
                <a:gd name="connsiteY3" fmla="*/ 3548546 h 11014461"/>
                <a:gd name="connsiteX4" fmla="*/ 6076725 w 10876067"/>
                <a:gd name="connsiteY4" fmla="*/ 3890160 h 11014461"/>
                <a:gd name="connsiteX5" fmla="*/ 3594109 w 10876067"/>
                <a:gd name="connsiteY5" fmla="*/ 4655430 h 11014461"/>
                <a:gd name="connsiteX6" fmla="*/ 3806285 w 10876067"/>
                <a:gd name="connsiteY6" fmla="*/ 4899329 h 11014461"/>
                <a:gd name="connsiteX7" fmla="*/ 4518988 w 10876067"/>
                <a:gd name="connsiteY7" fmla="*/ 4590004 h 11014461"/>
                <a:gd name="connsiteX8" fmla="*/ 4949900 w 10876067"/>
                <a:gd name="connsiteY8" fmla="*/ 5105127 h 11014461"/>
                <a:gd name="connsiteX9" fmla="*/ 6698217 w 10876067"/>
                <a:gd name="connsiteY9" fmla="*/ 4466933 h 11014461"/>
                <a:gd name="connsiteX10" fmla="*/ 7773200 w 10876067"/>
                <a:gd name="connsiteY10" fmla="*/ 5507812 h 11014461"/>
                <a:gd name="connsiteX11" fmla="*/ 8214195 w 10876067"/>
                <a:gd name="connsiteY11" fmla="*/ 5375115 h 11014461"/>
                <a:gd name="connsiteX12" fmla="*/ 9453715 w 10876067"/>
                <a:gd name="connsiteY12" fmla="*/ 6302170 h 11014461"/>
                <a:gd name="connsiteX13" fmla="*/ 10566863 w 10876067"/>
                <a:gd name="connsiteY13" fmla="*/ 7041884 h 11014461"/>
                <a:gd name="connsiteX14" fmla="*/ 10618557 w 10876067"/>
                <a:gd name="connsiteY14" fmla="*/ 7711084 h 11014461"/>
                <a:gd name="connsiteX15" fmla="*/ 10677334 w 10876067"/>
                <a:gd name="connsiteY15" fmla="*/ 8916268 h 11014461"/>
                <a:gd name="connsiteX16" fmla="*/ 9833571 w 10876067"/>
                <a:gd name="connsiteY16" fmla="*/ 9993815 h 11014461"/>
                <a:gd name="connsiteX17" fmla="*/ 8425383 w 10876067"/>
                <a:gd name="connsiteY17" fmla="*/ 10729290 h 11014461"/>
                <a:gd name="connsiteX18" fmla="*/ 6655710 w 10876067"/>
                <a:gd name="connsiteY18" fmla="*/ 10791196 h 11014461"/>
                <a:gd name="connsiteX19" fmla="*/ 5209433 w 10876067"/>
                <a:gd name="connsiteY19" fmla="*/ 10216285 h 11014461"/>
                <a:gd name="connsiteX20" fmla="*/ 4278172 w 10876067"/>
                <a:gd name="connsiteY20" fmla="*/ 9047920 h 11014461"/>
                <a:gd name="connsiteX21" fmla="*/ 0 w 10876067"/>
                <a:gd name="connsiteY21" fmla="*/ 0 h 11014461"/>
                <a:gd name="connsiteX22" fmla="*/ 29296 w 10876067"/>
                <a:gd name="connsiteY22" fmla="*/ 590651 h 11014461"/>
                <a:gd name="connsiteX23" fmla="*/ 4056269 w 10876067"/>
                <a:gd name="connsiteY23" fmla="*/ 9447119 h 11014461"/>
                <a:gd name="connsiteX24" fmla="*/ 5148356 w 10876067"/>
                <a:gd name="connsiteY24" fmla="*/ 10469331 h 11014461"/>
                <a:gd name="connsiteX25" fmla="*/ 6644613 w 10876067"/>
                <a:gd name="connsiteY25" fmla="*/ 11014461 h 11014461"/>
                <a:gd name="connsiteX26" fmla="*/ 8515178 w 10876067"/>
                <a:gd name="connsiteY26" fmla="*/ 10954661 h 11014461"/>
                <a:gd name="connsiteX27" fmla="*/ 10015263 w 10876067"/>
                <a:gd name="connsiteY27" fmla="*/ 10141763 h 11014461"/>
                <a:gd name="connsiteX28" fmla="*/ 10876067 w 10876067"/>
                <a:gd name="connsiteY28" fmla="*/ 8997049 h 11014461"/>
                <a:gd name="connsiteX29" fmla="*/ 10869557 w 10876067"/>
                <a:gd name="connsiteY29" fmla="*/ 7690559 h 11014461"/>
                <a:gd name="connsiteX30" fmla="*/ 10674271 w 10876067"/>
                <a:gd name="connsiteY30" fmla="*/ 6950848 h 11014461"/>
                <a:gd name="connsiteX31" fmla="*/ 9521221 w 10876067"/>
                <a:gd name="connsiteY31" fmla="*/ 6147842 h 11014461"/>
                <a:gd name="connsiteX32" fmla="*/ 4624687 w 10876067"/>
                <a:gd name="connsiteY32" fmla="*/ 1880899 h 11014461"/>
                <a:gd name="connsiteX33" fmla="*/ 3719572 w 10876067"/>
                <a:gd name="connsiteY33" fmla="*/ 1324587 h 11014461"/>
                <a:gd name="connsiteX34" fmla="*/ 3643373 w 10876067"/>
                <a:gd name="connsiteY34" fmla="*/ 1461763 h 11014461"/>
                <a:gd name="connsiteX0" fmla="*/ 3643373 w 10876067"/>
                <a:gd name="connsiteY0" fmla="*/ 1461763 h 11014461"/>
                <a:gd name="connsiteX1" fmla="*/ 4390729 w 10876067"/>
                <a:gd name="connsiteY1" fmla="*/ 2041573 h 11014461"/>
                <a:gd name="connsiteX2" fmla="*/ 4134030 w 10876067"/>
                <a:gd name="connsiteY2" fmla="*/ 2148262 h 11014461"/>
                <a:gd name="connsiteX3" fmla="*/ 5755428 w 10876067"/>
                <a:gd name="connsiteY3" fmla="*/ 3548546 h 11014461"/>
                <a:gd name="connsiteX4" fmla="*/ 6076725 w 10876067"/>
                <a:gd name="connsiteY4" fmla="*/ 3890160 h 11014461"/>
                <a:gd name="connsiteX5" fmla="*/ 3594109 w 10876067"/>
                <a:gd name="connsiteY5" fmla="*/ 4655430 h 11014461"/>
                <a:gd name="connsiteX6" fmla="*/ 3806285 w 10876067"/>
                <a:gd name="connsiteY6" fmla="*/ 4899329 h 11014461"/>
                <a:gd name="connsiteX7" fmla="*/ 4518988 w 10876067"/>
                <a:gd name="connsiteY7" fmla="*/ 4590004 h 11014461"/>
                <a:gd name="connsiteX8" fmla="*/ 4949900 w 10876067"/>
                <a:gd name="connsiteY8" fmla="*/ 5105127 h 11014461"/>
                <a:gd name="connsiteX9" fmla="*/ 6698217 w 10876067"/>
                <a:gd name="connsiteY9" fmla="*/ 4466933 h 11014461"/>
                <a:gd name="connsiteX10" fmla="*/ 7773200 w 10876067"/>
                <a:gd name="connsiteY10" fmla="*/ 5507812 h 11014461"/>
                <a:gd name="connsiteX11" fmla="*/ 8214195 w 10876067"/>
                <a:gd name="connsiteY11" fmla="*/ 5375115 h 11014461"/>
                <a:gd name="connsiteX12" fmla="*/ 9453715 w 10876067"/>
                <a:gd name="connsiteY12" fmla="*/ 6302170 h 11014461"/>
                <a:gd name="connsiteX13" fmla="*/ 10566863 w 10876067"/>
                <a:gd name="connsiteY13" fmla="*/ 7041884 h 11014461"/>
                <a:gd name="connsiteX14" fmla="*/ 10618557 w 10876067"/>
                <a:gd name="connsiteY14" fmla="*/ 7711084 h 11014461"/>
                <a:gd name="connsiteX15" fmla="*/ 10677334 w 10876067"/>
                <a:gd name="connsiteY15" fmla="*/ 8916268 h 11014461"/>
                <a:gd name="connsiteX16" fmla="*/ 9833571 w 10876067"/>
                <a:gd name="connsiteY16" fmla="*/ 9993815 h 11014461"/>
                <a:gd name="connsiteX17" fmla="*/ 8425383 w 10876067"/>
                <a:gd name="connsiteY17" fmla="*/ 10729290 h 11014461"/>
                <a:gd name="connsiteX18" fmla="*/ 6655710 w 10876067"/>
                <a:gd name="connsiteY18" fmla="*/ 10791196 h 11014461"/>
                <a:gd name="connsiteX19" fmla="*/ 5209433 w 10876067"/>
                <a:gd name="connsiteY19" fmla="*/ 10216285 h 11014461"/>
                <a:gd name="connsiteX20" fmla="*/ 4278172 w 10876067"/>
                <a:gd name="connsiteY20" fmla="*/ 9047920 h 11014461"/>
                <a:gd name="connsiteX21" fmla="*/ 0 w 10876067"/>
                <a:gd name="connsiteY21" fmla="*/ 0 h 11014461"/>
                <a:gd name="connsiteX22" fmla="*/ 29296 w 10876067"/>
                <a:gd name="connsiteY22" fmla="*/ 590651 h 11014461"/>
                <a:gd name="connsiteX23" fmla="*/ 4056269 w 10876067"/>
                <a:gd name="connsiteY23" fmla="*/ 9447119 h 11014461"/>
                <a:gd name="connsiteX24" fmla="*/ 5148356 w 10876067"/>
                <a:gd name="connsiteY24" fmla="*/ 10469331 h 11014461"/>
                <a:gd name="connsiteX25" fmla="*/ 6644613 w 10876067"/>
                <a:gd name="connsiteY25" fmla="*/ 11014461 h 11014461"/>
                <a:gd name="connsiteX26" fmla="*/ 8515178 w 10876067"/>
                <a:gd name="connsiteY26" fmla="*/ 10954661 h 11014461"/>
                <a:gd name="connsiteX27" fmla="*/ 10015263 w 10876067"/>
                <a:gd name="connsiteY27" fmla="*/ 10141763 h 11014461"/>
                <a:gd name="connsiteX28" fmla="*/ 10876067 w 10876067"/>
                <a:gd name="connsiteY28" fmla="*/ 8997049 h 11014461"/>
                <a:gd name="connsiteX29" fmla="*/ 10841221 w 10876067"/>
                <a:gd name="connsiteY29" fmla="*/ 7558461 h 11014461"/>
                <a:gd name="connsiteX30" fmla="*/ 10674271 w 10876067"/>
                <a:gd name="connsiteY30" fmla="*/ 6950848 h 11014461"/>
                <a:gd name="connsiteX31" fmla="*/ 9521221 w 10876067"/>
                <a:gd name="connsiteY31" fmla="*/ 6147842 h 11014461"/>
                <a:gd name="connsiteX32" fmla="*/ 4624687 w 10876067"/>
                <a:gd name="connsiteY32" fmla="*/ 1880899 h 11014461"/>
                <a:gd name="connsiteX33" fmla="*/ 3719572 w 10876067"/>
                <a:gd name="connsiteY33" fmla="*/ 1324587 h 11014461"/>
                <a:gd name="connsiteX34" fmla="*/ 3643373 w 10876067"/>
                <a:gd name="connsiteY34" fmla="*/ 1461763 h 11014461"/>
                <a:gd name="connsiteX0" fmla="*/ 3643373 w 10876067"/>
                <a:gd name="connsiteY0" fmla="*/ 1461763 h 11014461"/>
                <a:gd name="connsiteX1" fmla="*/ 4390729 w 10876067"/>
                <a:gd name="connsiteY1" fmla="*/ 2041573 h 11014461"/>
                <a:gd name="connsiteX2" fmla="*/ 4134030 w 10876067"/>
                <a:gd name="connsiteY2" fmla="*/ 2148262 h 11014461"/>
                <a:gd name="connsiteX3" fmla="*/ 5755428 w 10876067"/>
                <a:gd name="connsiteY3" fmla="*/ 3548546 h 11014461"/>
                <a:gd name="connsiteX4" fmla="*/ 6076725 w 10876067"/>
                <a:gd name="connsiteY4" fmla="*/ 3890160 h 11014461"/>
                <a:gd name="connsiteX5" fmla="*/ 3594109 w 10876067"/>
                <a:gd name="connsiteY5" fmla="*/ 4655430 h 11014461"/>
                <a:gd name="connsiteX6" fmla="*/ 3806285 w 10876067"/>
                <a:gd name="connsiteY6" fmla="*/ 4899329 h 11014461"/>
                <a:gd name="connsiteX7" fmla="*/ 4518988 w 10876067"/>
                <a:gd name="connsiteY7" fmla="*/ 4590004 h 11014461"/>
                <a:gd name="connsiteX8" fmla="*/ 4949900 w 10876067"/>
                <a:gd name="connsiteY8" fmla="*/ 5105127 h 11014461"/>
                <a:gd name="connsiteX9" fmla="*/ 6698217 w 10876067"/>
                <a:gd name="connsiteY9" fmla="*/ 4466933 h 11014461"/>
                <a:gd name="connsiteX10" fmla="*/ 7773200 w 10876067"/>
                <a:gd name="connsiteY10" fmla="*/ 5507812 h 11014461"/>
                <a:gd name="connsiteX11" fmla="*/ 8214195 w 10876067"/>
                <a:gd name="connsiteY11" fmla="*/ 5375115 h 11014461"/>
                <a:gd name="connsiteX12" fmla="*/ 9453715 w 10876067"/>
                <a:gd name="connsiteY12" fmla="*/ 6302170 h 11014461"/>
                <a:gd name="connsiteX13" fmla="*/ 10311837 w 10876067"/>
                <a:gd name="connsiteY13" fmla="*/ 7273056 h 11014461"/>
                <a:gd name="connsiteX14" fmla="*/ 10618557 w 10876067"/>
                <a:gd name="connsiteY14" fmla="*/ 7711084 h 11014461"/>
                <a:gd name="connsiteX15" fmla="*/ 10677334 w 10876067"/>
                <a:gd name="connsiteY15" fmla="*/ 8916268 h 11014461"/>
                <a:gd name="connsiteX16" fmla="*/ 9833571 w 10876067"/>
                <a:gd name="connsiteY16" fmla="*/ 9993815 h 11014461"/>
                <a:gd name="connsiteX17" fmla="*/ 8425383 w 10876067"/>
                <a:gd name="connsiteY17" fmla="*/ 10729290 h 11014461"/>
                <a:gd name="connsiteX18" fmla="*/ 6655710 w 10876067"/>
                <a:gd name="connsiteY18" fmla="*/ 10791196 h 11014461"/>
                <a:gd name="connsiteX19" fmla="*/ 5209433 w 10876067"/>
                <a:gd name="connsiteY19" fmla="*/ 10216285 h 11014461"/>
                <a:gd name="connsiteX20" fmla="*/ 4278172 w 10876067"/>
                <a:gd name="connsiteY20" fmla="*/ 9047920 h 11014461"/>
                <a:gd name="connsiteX21" fmla="*/ 0 w 10876067"/>
                <a:gd name="connsiteY21" fmla="*/ 0 h 11014461"/>
                <a:gd name="connsiteX22" fmla="*/ 29296 w 10876067"/>
                <a:gd name="connsiteY22" fmla="*/ 590651 h 11014461"/>
                <a:gd name="connsiteX23" fmla="*/ 4056269 w 10876067"/>
                <a:gd name="connsiteY23" fmla="*/ 9447119 h 11014461"/>
                <a:gd name="connsiteX24" fmla="*/ 5148356 w 10876067"/>
                <a:gd name="connsiteY24" fmla="*/ 10469331 h 11014461"/>
                <a:gd name="connsiteX25" fmla="*/ 6644613 w 10876067"/>
                <a:gd name="connsiteY25" fmla="*/ 11014461 h 11014461"/>
                <a:gd name="connsiteX26" fmla="*/ 8515178 w 10876067"/>
                <a:gd name="connsiteY26" fmla="*/ 10954661 h 11014461"/>
                <a:gd name="connsiteX27" fmla="*/ 10015263 w 10876067"/>
                <a:gd name="connsiteY27" fmla="*/ 10141763 h 11014461"/>
                <a:gd name="connsiteX28" fmla="*/ 10876067 w 10876067"/>
                <a:gd name="connsiteY28" fmla="*/ 8997049 h 11014461"/>
                <a:gd name="connsiteX29" fmla="*/ 10841221 w 10876067"/>
                <a:gd name="connsiteY29" fmla="*/ 7558461 h 11014461"/>
                <a:gd name="connsiteX30" fmla="*/ 10674271 w 10876067"/>
                <a:gd name="connsiteY30" fmla="*/ 6950848 h 11014461"/>
                <a:gd name="connsiteX31" fmla="*/ 9521221 w 10876067"/>
                <a:gd name="connsiteY31" fmla="*/ 6147842 h 11014461"/>
                <a:gd name="connsiteX32" fmla="*/ 4624687 w 10876067"/>
                <a:gd name="connsiteY32" fmla="*/ 1880899 h 11014461"/>
                <a:gd name="connsiteX33" fmla="*/ 3719572 w 10876067"/>
                <a:gd name="connsiteY33" fmla="*/ 1324587 h 11014461"/>
                <a:gd name="connsiteX34" fmla="*/ 3643373 w 10876067"/>
                <a:gd name="connsiteY34" fmla="*/ 1461763 h 11014461"/>
                <a:gd name="connsiteX0" fmla="*/ 3643373 w 10876067"/>
                <a:gd name="connsiteY0" fmla="*/ 1461763 h 11014461"/>
                <a:gd name="connsiteX1" fmla="*/ 4390729 w 10876067"/>
                <a:gd name="connsiteY1" fmla="*/ 2041573 h 11014461"/>
                <a:gd name="connsiteX2" fmla="*/ 4134030 w 10876067"/>
                <a:gd name="connsiteY2" fmla="*/ 2148262 h 11014461"/>
                <a:gd name="connsiteX3" fmla="*/ 5755428 w 10876067"/>
                <a:gd name="connsiteY3" fmla="*/ 3548546 h 11014461"/>
                <a:gd name="connsiteX4" fmla="*/ 6076725 w 10876067"/>
                <a:gd name="connsiteY4" fmla="*/ 3890160 h 11014461"/>
                <a:gd name="connsiteX5" fmla="*/ 3594109 w 10876067"/>
                <a:gd name="connsiteY5" fmla="*/ 4655430 h 11014461"/>
                <a:gd name="connsiteX6" fmla="*/ 3806285 w 10876067"/>
                <a:gd name="connsiteY6" fmla="*/ 4899329 h 11014461"/>
                <a:gd name="connsiteX7" fmla="*/ 4518988 w 10876067"/>
                <a:gd name="connsiteY7" fmla="*/ 4590004 h 11014461"/>
                <a:gd name="connsiteX8" fmla="*/ 4949900 w 10876067"/>
                <a:gd name="connsiteY8" fmla="*/ 5105127 h 11014461"/>
                <a:gd name="connsiteX9" fmla="*/ 6698217 w 10876067"/>
                <a:gd name="connsiteY9" fmla="*/ 4466933 h 11014461"/>
                <a:gd name="connsiteX10" fmla="*/ 7773200 w 10876067"/>
                <a:gd name="connsiteY10" fmla="*/ 5507812 h 11014461"/>
                <a:gd name="connsiteX11" fmla="*/ 8214195 w 10876067"/>
                <a:gd name="connsiteY11" fmla="*/ 5375115 h 11014461"/>
                <a:gd name="connsiteX12" fmla="*/ 9453715 w 10876067"/>
                <a:gd name="connsiteY12" fmla="*/ 6302170 h 11014461"/>
                <a:gd name="connsiteX13" fmla="*/ 10311837 w 10876067"/>
                <a:gd name="connsiteY13" fmla="*/ 7273056 h 11014461"/>
                <a:gd name="connsiteX14" fmla="*/ 10618557 w 10876067"/>
                <a:gd name="connsiteY14" fmla="*/ 7711084 h 11014461"/>
                <a:gd name="connsiteX15" fmla="*/ 10677334 w 10876067"/>
                <a:gd name="connsiteY15" fmla="*/ 8916268 h 11014461"/>
                <a:gd name="connsiteX16" fmla="*/ 9833571 w 10876067"/>
                <a:gd name="connsiteY16" fmla="*/ 9993815 h 11014461"/>
                <a:gd name="connsiteX17" fmla="*/ 8425383 w 10876067"/>
                <a:gd name="connsiteY17" fmla="*/ 10729290 h 11014461"/>
                <a:gd name="connsiteX18" fmla="*/ 6655710 w 10876067"/>
                <a:gd name="connsiteY18" fmla="*/ 10791196 h 11014461"/>
                <a:gd name="connsiteX19" fmla="*/ 5209433 w 10876067"/>
                <a:gd name="connsiteY19" fmla="*/ 10216285 h 11014461"/>
                <a:gd name="connsiteX20" fmla="*/ 4278172 w 10876067"/>
                <a:gd name="connsiteY20" fmla="*/ 9047920 h 11014461"/>
                <a:gd name="connsiteX21" fmla="*/ 0 w 10876067"/>
                <a:gd name="connsiteY21" fmla="*/ 0 h 11014461"/>
                <a:gd name="connsiteX22" fmla="*/ 29296 w 10876067"/>
                <a:gd name="connsiteY22" fmla="*/ 590651 h 11014461"/>
                <a:gd name="connsiteX23" fmla="*/ 4056269 w 10876067"/>
                <a:gd name="connsiteY23" fmla="*/ 9447119 h 11014461"/>
                <a:gd name="connsiteX24" fmla="*/ 5148356 w 10876067"/>
                <a:gd name="connsiteY24" fmla="*/ 10469331 h 11014461"/>
                <a:gd name="connsiteX25" fmla="*/ 6644613 w 10876067"/>
                <a:gd name="connsiteY25" fmla="*/ 11014461 h 11014461"/>
                <a:gd name="connsiteX26" fmla="*/ 8515178 w 10876067"/>
                <a:gd name="connsiteY26" fmla="*/ 10954661 h 11014461"/>
                <a:gd name="connsiteX27" fmla="*/ 10015263 w 10876067"/>
                <a:gd name="connsiteY27" fmla="*/ 10141763 h 11014461"/>
                <a:gd name="connsiteX28" fmla="*/ 10876067 w 10876067"/>
                <a:gd name="connsiteY28" fmla="*/ 8997049 h 11014461"/>
                <a:gd name="connsiteX29" fmla="*/ 10841221 w 10876067"/>
                <a:gd name="connsiteY29" fmla="*/ 7558461 h 11014461"/>
                <a:gd name="connsiteX30" fmla="*/ 10490087 w 10876067"/>
                <a:gd name="connsiteY30" fmla="*/ 7099460 h 11014461"/>
                <a:gd name="connsiteX31" fmla="*/ 9521221 w 10876067"/>
                <a:gd name="connsiteY31" fmla="*/ 6147842 h 11014461"/>
                <a:gd name="connsiteX32" fmla="*/ 4624687 w 10876067"/>
                <a:gd name="connsiteY32" fmla="*/ 1880899 h 11014461"/>
                <a:gd name="connsiteX33" fmla="*/ 3719572 w 10876067"/>
                <a:gd name="connsiteY33" fmla="*/ 1324587 h 11014461"/>
                <a:gd name="connsiteX34" fmla="*/ 3643373 w 10876067"/>
                <a:gd name="connsiteY34" fmla="*/ 1461763 h 11014461"/>
                <a:gd name="connsiteX0" fmla="*/ 3643373 w 10876067"/>
                <a:gd name="connsiteY0" fmla="*/ 1461763 h 11014461"/>
                <a:gd name="connsiteX1" fmla="*/ 4390729 w 10876067"/>
                <a:gd name="connsiteY1" fmla="*/ 2041573 h 11014461"/>
                <a:gd name="connsiteX2" fmla="*/ 4134030 w 10876067"/>
                <a:gd name="connsiteY2" fmla="*/ 2148262 h 11014461"/>
                <a:gd name="connsiteX3" fmla="*/ 5755428 w 10876067"/>
                <a:gd name="connsiteY3" fmla="*/ 3548546 h 11014461"/>
                <a:gd name="connsiteX4" fmla="*/ 6076725 w 10876067"/>
                <a:gd name="connsiteY4" fmla="*/ 3890160 h 11014461"/>
                <a:gd name="connsiteX5" fmla="*/ 3594109 w 10876067"/>
                <a:gd name="connsiteY5" fmla="*/ 4655430 h 11014461"/>
                <a:gd name="connsiteX6" fmla="*/ 3806285 w 10876067"/>
                <a:gd name="connsiteY6" fmla="*/ 4899329 h 11014461"/>
                <a:gd name="connsiteX7" fmla="*/ 4518988 w 10876067"/>
                <a:gd name="connsiteY7" fmla="*/ 4590004 h 11014461"/>
                <a:gd name="connsiteX8" fmla="*/ 4949900 w 10876067"/>
                <a:gd name="connsiteY8" fmla="*/ 5105127 h 11014461"/>
                <a:gd name="connsiteX9" fmla="*/ 6698217 w 10876067"/>
                <a:gd name="connsiteY9" fmla="*/ 4466933 h 11014461"/>
                <a:gd name="connsiteX10" fmla="*/ 7773200 w 10876067"/>
                <a:gd name="connsiteY10" fmla="*/ 5507812 h 11014461"/>
                <a:gd name="connsiteX11" fmla="*/ 8214195 w 10876067"/>
                <a:gd name="connsiteY11" fmla="*/ 5375115 h 11014461"/>
                <a:gd name="connsiteX12" fmla="*/ 9453715 w 10876067"/>
                <a:gd name="connsiteY12" fmla="*/ 6302170 h 11014461"/>
                <a:gd name="connsiteX13" fmla="*/ 10311837 w 10876067"/>
                <a:gd name="connsiteY13" fmla="*/ 7273056 h 11014461"/>
                <a:gd name="connsiteX14" fmla="*/ 10618557 w 10876067"/>
                <a:gd name="connsiteY14" fmla="*/ 7711084 h 11014461"/>
                <a:gd name="connsiteX15" fmla="*/ 10677334 w 10876067"/>
                <a:gd name="connsiteY15" fmla="*/ 8916268 h 11014461"/>
                <a:gd name="connsiteX16" fmla="*/ 9833571 w 10876067"/>
                <a:gd name="connsiteY16" fmla="*/ 9993815 h 11014461"/>
                <a:gd name="connsiteX17" fmla="*/ 8425383 w 10876067"/>
                <a:gd name="connsiteY17" fmla="*/ 10729290 h 11014461"/>
                <a:gd name="connsiteX18" fmla="*/ 6655710 w 10876067"/>
                <a:gd name="connsiteY18" fmla="*/ 10791196 h 11014461"/>
                <a:gd name="connsiteX19" fmla="*/ 5209433 w 10876067"/>
                <a:gd name="connsiteY19" fmla="*/ 10216285 h 11014461"/>
                <a:gd name="connsiteX20" fmla="*/ 4278172 w 10876067"/>
                <a:gd name="connsiteY20" fmla="*/ 9047920 h 11014461"/>
                <a:gd name="connsiteX21" fmla="*/ 0 w 10876067"/>
                <a:gd name="connsiteY21" fmla="*/ 0 h 11014461"/>
                <a:gd name="connsiteX22" fmla="*/ 29296 w 10876067"/>
                <a:gd name="connsiteY22" fmla="*/ 590651 h 11014461"/>
                <a:gd name="connsiteX23" fmla="*/ 4056269 w 10876067"/>
                <a:gd name="connsiteY23" fmla="*/ 9447119 h 11014461"/>
                <a:gd name="connsiteX24" fmla="*/ 5148356 w 10876067"/>
                <a:gd name="connsiteY24" fmla="*/ 10469331 h 11014461"/>
                <a:gd name="connsiteX25" fmla="*/ 6644613 w 10876067"/>
                <a:gd name="connsiteY25" fmla="*/ 11014461 h 11014461"/>
                <a:gd name="connsiteX26" fmla="*/ 8515178 w 10876067"/>
                <a:gd name="connsiteY26" fmla="*/ 10954661 h 11014461"/>
                <a:gd name="connsiteX27" fmla="*/ 10015263 w 10876067"/>
                <a:gd name="connsiteY27" fmla="*/ 10141763 h 11014461"/>
                <a:gd name="connsiteX28" fmla="*/ 10876067 w 10876067"/>
                <a:gd name="connsiteY28" fmla="*/ 8997049 h 11014461"/>
                <a:gd name="connsiteX29" fmla="*/ 10812885 w 10876067"/>
                <a:gd name="connsiteY29" fmla="*/ 7574973 h 11014461"/>
                <a:gd name="connsiteX30" fmla="*/ 10490087 w 10876067"/>
                <a:gd name="connsiteY30" fmla="*/ 7099460 h 11014461"/>
                <a:gd name="connsiteX31" fmla="*/ 9521221 w 10876067"/>
                <a:gd name="connsiteY31" fmla="*/ 6147842 h 11014461"/>
                <a:gd name="connsiteX32" fmla="*/ 4624687 w 10876067"/>
                <a:gd name="connsiteY32" fmla="*/ 1880899 h 11014461"/>
                <a:gd name="connsiteX33" fmla="*/ 3719572 w 10876067"/>
                <a:gd name="connsiteY33" fmla="*/ 1324587 h 11014461"/>
                <a:gd name="connsiteX34" fmla="*/ 3643373 w 10876067"/>
                <a:gd name="connsiteY34" fmla="*/ 1461763 h 11014461"/>
                <a:gd name="connsiteX0" fmla="*/ 3643373 w 10876067"/>
                <a:gd name="connsiteY0" fmla="*/ 1461763 h 11070708"/>
                <a:gd name="connsiteX1" fmla="*/ 4390729 w 10876067"/>
                <a:gd name="connsiteY1" fmla="*/ 2041573 h 11070708"/>
                <a:gd name="connsiteX2" fmla="*/ 4134030 w 10876067"/>
                <a:gd name="connsiteY2" fmla="*/ 2148262 h 11070708"/>
                <a:gd name="connsiteX3" fmla="*/ 5755428 w 10876067"/>
                <a:gd name="connsiteY3" fmla="*/ 3548546 h 11070708"/>
                <a:gd name="connsiteX4" fmla="*/ 6076725 w 10876067"/>
                <a:gd name="connsiteY4" fmla="*/ 3890160 h 11070708"/>
                <a:gd name="connsiteX5" fmla="*/ 3594109 w 10876067"/>
                <a:gd name="connsiteY5" fmla="*/ 4655430 h 11070708"/>
                <a:gd name="connsiteX6" fmla="*/ 3806285 w 10876067"/>
                <a:gd name="connsiteY6" fmla="*/ 4899329 h 11070708"/>
                <a:gd name="connsiteX7" fmla="*/ 4518988 w 10876067"/>
                <a:gd name="connsiteY7" fmla="*/ 4590004 h 11070708"/>
                <a:gd name="connsiteX8" fmla="*/ 4949900 w 10876067"/>
                <a:gd name="connsiteY8" fmla="*/ 5105127 h 11070708"/>
                <a:gd name="connsiteX9" fmla="*/ 6698217 w 10876067"/>
                <a:gd name="connsiteY9" fmla="*/ 4466933 h 11070708"/>
                <a:gd name="connsiteX10" fmla="*/ 7773200 w 10876067"/>
                <a:gd name="connsiteY10" fmla="*/ 5507812 h 11070708"/>
                <a:gd name="connsiteX11" fmla="*/ 8214195 w 10876067"/>
                <a:gd name="connsiteY11" fmla="*/ 5375115 h 11070708"/>
                <a:gd name="connsiteX12" fmla="*/ 9453715 w 10876067"/>
                <a:gd name="connsiteY12" fmla="*/ 6302170 h 11070708"/>
                <a:gd name="connsiteX13" fmla="*/ 10311837 w 10876067"/>
                <a:gd name="connsiteY13" fmla="*/ 7273056 h 11070708"/>
                <a:gd name="connsiteX14" fmla="*/ 10618557 w 10876067"/>
                <a:gd name="connsiteY14" fmla="*/ 7711084 h 11070708"/>
                <a:gd name="connsiteX15" fmla="*/ 10677334 w 10876067"/>
                <a:gd name="connsiteY15" fmla="*/ 8916268 h 11070708"/>
                <a:gd name="connsiteX16" fmla="*/ 9833571 w 10876067"/>
                <a:gd name="connsiteY16" fmla="*/ 9993815 h 11070708"/>
                <a:gd name="connsiteX17" fmla="*/ 8425383 w 10876067"/>
                <a:gd name="connsiteY17" fmla="*/ 10729290 h 11070708"/>
                <a:gd name="connsiteX18" fmla="*/ 6655710 w 10876067"/>
                <a:gd name="connsiteY18" fmla="*/ 10791196 h 11070708"/>
                <a:gd name="connsiteX19" fmla="*/ 5209433 w 10876067"/>
                <a:gd name="connsiteY19" fmla="*/ 10216285 h 11070708"/>
                <a:gd name="connsiteX20" fmla="*/ 4278172 w 10876067"/>
                <a:gd name="connsiteY20" fmla="*/ 9047920 h 11070708"/>
                <a:gd name="connsiteX21" fmla="*/ 0 w 10876067"/>
                <a:gd name="connsiteY21" fmla="*/ 0 h 11070708"/>
                <a:gd name="connsiteX22" fmla="*/ 29296 w 10876067"/>
                <a:gd name="connsiteY22" fmla="*/ 590651 h 11070708"/>
                <a:gd name="connsiteX23" fmla="*/ 4056269 w 10876067"/>
                <a:gd name="connsiteY23" fmla="*/ 9447119 h 11070708"/>
                <a:gd name="connsiteX24" fmla="*/ 5148356 w 10876067"/>
                <a:gd name="connsiteY24" fmla="*/ 10469331 h 11070708"/>
                <a:gd name="connsiteX25" fmla="*/ 6644613 w 10876067"/>
                <a:gd name="connsiteY25" fmla="*/ 11014461 h 11070708"/>
                <a:gd name="connsiteX26" fmla="*/ 8515178 w 10876067"/>
                <a:gd name="connsiteY26" fmla="*/ 10954661 h 11070708"/>
                <a:gd name="connsiteX27" fmla="*/ 10015263 w 10876067"/>
                <a:gd name="connsiteY27" fmla="*/ 10141763 h 11070708"/>
                <a:gd name="connsiteX28" fmla="*/ 10876067 w 10876067"/>
                <a:gd name="connsiteY28" fmla="*/ 8997049 h 11070708"/>
                <a:gd name="connsiteX29" fmla="*/ 10812885 w 10876067"/>
                <a:gd name="connsiteY29" fmla="*/ 7574973 h 11070708"/>
                <a:gd name="connsiteX30" fmla="*/ 10490087 w 10876067"/>
                <a:gd name="connsiteY30" fmla="*/ 7099460 h 11070708"/>
                <a:gd name="connsiteX31" fmla="*/ 9521221 w 10876067"/>
                <a:gd name="connsiteY31" fmla="*/ 6147842 h 11070708"/>
                <a:gd name="connsiteX32" fmla="*/ 4624687 w 10876067"/>
                <a:gd name="connsiteY32" fmla="*/ 1880899 h 11070708"/>
                <a:gd name="connsiteX33" fmla="*/ 3719572 w 10876067"/>
                <a:gd name="connsiteY33" fmla="*/ 1324587 h 11070708"/>
                <a:gd name="connsiteX34" fmla="*/ 3643373 w 10876067"/>
                <a:gd name="connsiteY34" fmla="*/ 1461763 h 11070708"/>
                <a:gd name="connsiteX0" fmla="*/ 3643373 w 10876067"/>
                <a:gd name="connsiteY0" fmla="*/ 1461763 h 11070708"/>
                <a:gd name="connsiteX1" fmla="*/ 4390729 w 10876067"/>
                <a:gd name="connsiteY1" fmla="*/ 2041573 h 11070708"/>
                <a:gd name="connsiteX2" fmla="*/ 4134030 w 10876067"/>
                <a:gd name="connsiteY2" fmla="*/ 2148262 h 11070708"/>
                <a:gd name="connsiteX3" fmla="*/ 5755428 w 10876067"/>
                <a:gd name="connsiteY3" fmla="*/ 3548546 h 11070708"/>
                <a:gd name="connsiteX4" fmla="*/ 6076725 w 10876067"/>
                <a:gd name="connsiteY4" fmla="*/ 3890160 h 11070708"/>
                <a:gd name="connsiteX5" fmla="*/ 3594109 w 10876067"/>
                <a:gd name="connsiteY5" fmla="*/ 4655430 h 11070708"/>
                <a:gd name="connsiteX6" fmla="*/ 3806285 w 10876067"/>
                <a:gd name="connsiteY6" fmla="*/ 4899329 h 11070708"/>
                <a:gd name="connsiteX7" fmla="*/ 4518988 w 10876067"/>
                <a:gd name="connsiteY7" fmla="*/ 4590004 h 11070708"/>
                <a:gd name="connsiteX8" fmla="*/ 4949900 w 10876067"/>
                <a:gd name="connsiteY8" fmla="*/ 5105127 h 11070708"/>
                <a:gd name="connsiteX9" fmla="*/ 6698217 w 10876067"/>
                <a:gd name="connsiteY9" fmla="*/ 4466933 h 11070708"/>
                <a:gd name="connsiteX10" fmla="*/ 7773200 w 10876067"/>
                <a:gd name="connsiteY10" fmla="*/ 5507812 h 11070708"/>
                <a:gd name="connsiteX11" fmla="*/ 8214195 w 10876067"/>
                <a:gd name="connsiteY11" fmla="*/ 5375115 h 11070708"/>
                <a:gd name="connsiteX12" fmla="*/ 9453715 w 10876067"/>
                <a:gd name="connsiteY12" fmla="*/ 6302170 h 11070708"/>
                <a:gd name="connsiteX13" fmla="*/ 10311837 w 10876067"/>
                <a:gd name="connsiteY13" fmla="*/ 7273056 h 11070708"/>
                <a:gd name="connsiteX14" fmla="*/ 10618557 w 10876067"/>
                <a:gd name="connsiteY14" fmla="*/ 7711084 h 11070708"/>
                <a:gd name="connsiteX15" fmla="*/ 10677334 w 10876067"/>
                <a:gd name="connsiteY15" fmla="*/ 8916268 h 11070708"/>
                <a:gd name="connsiteX16" fmla="*/ 9833571 w 10876067"/>
                <a:gd name="connsiteY16" fmla="*/ 9993815 h 11070708"/>
                <a:gd name="connsiteX17" fmla="*/ 8425383 w 10876067"/>
                <a:gd name="connsiteY17" fmla="*/ 10729290 h 11070708"/>
                <a:gd name="connsiteX18" fmla="*/ 6655710 w 10876067"/>
                <a:gd name="connsiteY18" fmla="*/ 10791196 h 11070708"/>
                <a:gd name="connsiteX19" fmla="*/ 5209433 w 10876067"/>
                <a:gd name="connsiteY19" fmla="*/ 10216285 h 11070708"/>
                <a:gd name="connsiteX20" fmla="*/ 4278172 w 10876067"/>
                <a:gd name="connsiteY20" fmla="*/ 9047920 h 11070708"/>
                <a:gd name="connsiteX21" fmla="*/ 0 w 10876067"/>
                <a:gd name="connsiteY21" fmla="*/ 0 h 11070708"/>
                <a:gd name="connsiteX22" fmla="*/ 29296 w 10876067"/>
                <a:gd name="connsiteY22" fmla="*/ 590651 h 11070708"/>
                <a:gd name="connsiteX23" fmla="*/ 4056269 w 10876067"/>
                <a:gd name="connsiteY23" fmla="*/ 9447119 h 11070708"/>
                <a:gd name="connsiteX24" fmla="*/ 5148356 w 10876067"/>
                <a:gd name="connsiteY24" fmla="*/ 10469331 h 11070708"/>
                <a:gd name="connsiteX25" fmla="*/ 6644613 w 10876067"/>
                <a:gd name="connsiteY25" fmla="*/ 11014461 h 11070708"/>
                <a:gd name="connsiteX26" fmla="*/ 8515178 w 10876067"/>
                <a:gd name="connsiteY26" fmla="*/ 10954661 h 11070708"/>
                <a:gd name="connsiteX27" fmla="*/ 10015263 w 10876067"/>
                <a:gd name="connsiteY27" fmla="*/ 10141763 h 11070708"/>
                <a:gd name="connsiteX28" fmla="*/ 10876067 w 10876067"/>
                <a:gd name="connsiteY28" fmla="*/ 8997049 h 11070708"/>
                <a:gd name="connsiteX29" fmla="*/ 10812885 w 10876067"/>
                <a:gd name="connsiteY29" fmla="*/ 7574973 h 11070708"/>
                <a:gd name="connsiteX30" fmla="*/ 10490087 w 10876067"/>
                <a:gd name="connsiteY30" fmla="*/ 7099460 h 11070708"/>
                <a:gd name="connsiteX31" fmla="*/ 9521221 w 10876067"/>
                <a:gd name="connsiteY31" fmla="*/ 6147842 h 11070708"/>
                <a:gd name="connsiteX32" fmla="*/ 4624687 w 10876067"/>
                <a:gd name="connsiteY32" fmla="*/ 1880899 h 11070708"/>
                <a:gd name="connsiteX33" fmla="*/ 3719572 w 10876067"/>
                <a:gd name="connsiteY33" fmla="*/ 1324587 h 11070708"/>
                <a:gd name="connsiteX34" fmla="*/ 3643373 w 10876067"/>
                <a:gd name="connsiteY34" fmla="*/ 1461763 h 11070708"/>
                <a:gd name="connsiteX0" fmla="*/ 3643373 w 10876067"/>
                <a:gd name="connsiteY0" fmla="*/ 1461763 h 11070708"/>
                <a:gd name="connsiteX1" fmla="*/ 4390729 w 10876067"/>
                <a:gd name="connsiteY1" fmla="*/ 2041573 h 11070708"/>
                <a:gd name="connsiteX2" fmla="*/ 4134030 w 10876067"/>
                <a:gd name="connsiteY2" fmla="*/ 2148262 h 11070708"/>
                <a:gd name="connsiteX3" fmla="*/ 5755428 w 10876067"/>
                <a:gd name="connsiteY3" fmla="*/ 3548546 h 11070708"/>
                <a:gd name="connsiteX4" fmla="*/ 6076725 w 10876067"/>
                <a:gd name="connsiteY4" fmla="*/ 3890160 h 11070708"/>
                <a:gd name="connsiteX5" fmla="*/ 3594109 w 10876067"/>
                <a:gd name="connsiteY5" fmla="*/ 4655430 h 11070708"/>
                <a:gd name="connsiteX6" fmla="*/ 3806285 w 10876067"/>
                <a:gd name="connsiteY6" fmla="*/ 4899329 h 11070708"/>
                <a:gd name="connsiteX7" fmla="*/ 4518988 w 10876067"/>
                <a:gd name="connsiteY7" fmla="*/ 4590004 h 11070708"/>
                <a:gd name="connsiteX8" fmla="*/ 4949900 w 10876067"/>
                <a:gd name="connsiteY8" fmla="*/ 5105127 h 11070708"/>
                <a:gd name="connsiteX9" fmla="*/ 6698217 w 10876067"/>
                <a:gd name="connsiteY9" fmla="*/ 4466933 h 11070708"/>
                <a:gd name="connsiteX10" fmla="*/ 7773200 w 10876067"/>
                <a:gd name="connsiteY10" fmla="*/ 5507812 h 11070708"/>
                <a:gd name="connsiteX11" fmla="*/ 8214195 w 10876067"/>
                <a:gd name="connsiteY11" fmla="*/ 5375115 h 11070708"/>
                <a:gd name="connsiteX12" fmla="*/ 9453715 w 10876067"/>
                <a:gd name="connsiteY12" fmla="*/ 6302170 h 11070708"/>
                <a:gd name="connsiteX13" fmla="*/ 10311837 w 10876067"/>
                <a:gd name="connsiteY13" fmla="*/ 7273056 h 11070708"/>
                <a:gd name="connsiteX14" fmla="*/ 10618557 w 10876067"/>
                <a:gd name="connsiteY14" fmla="*/ 7711084 h 11070708"/>
                <a:gd name="connsiteX15" fmla="*/ 10677334 w 10876067"/>
                <a:gd name="connsiteY15" fmla="*/ 8916268 h 11070708"/>
                <a:gd name="connsiteX16" fmla="*/ 9833571 w 10876067"/>
                <a:gd name="connsiteY16" fmla="*/ 9993815 h 11070708"/>
                <a:gd name="connsiteX17" fmla="*/ 8425383 w 10876067"/>
                <a:gd name="connsiteY17" fmla="*/ 10729290 h 11070708"/>
                <a:gd name="connsiteX18" fmla="*/ 6655710 w 10876067"/>
                <a:gd name="connsiteY18" fmla="*/ 10791196 h 11070708"/>
                <a:gd name="connsiteX19" fmla="*/ 5209433 w 10876067"/>
                <a:gd name="connsiteY19" fmla="*/ 10216285 h 11070708"/>
                <a:gd name="connsiteX20" fmla="*/ 4278172 w 10876067"/>
                <a:gd name="connsiteY20" fmla="*/ 9047920 h 11070708"/>
                <a:gd name="connsiteX21" fmla="*/ 0 w 10876067"/>
                <a:gd name="connsiteY21" fmla="*/ 0 h 11070708"/>
                <a:gd name="connsiteX22" fmla="*/ 29296 w 10876067"/>
                <a:gd name="connsiteY22" fmla="*/ 590651 h 11070708"/>
                <a:gd name="connsiteX23" fmla="*/ 4056269 w 10876067"/>
                <a:gd name="connsiteY23" fmla="*/ 9447119 h 11070708"/>
                <a:gd name="connsiteX24" fmla="*/ 5148356 w 10876067"/>
                <a:gd name="connsiteY24" fmla="*/ 10469331 h 11070708"/>
                <a:gd name="connsiteX25" fmla="*/ 6644613 w 10876067"/>
                <a:gd name="connsiteY25" fmla="*/ 11014461 h 11070708"/>
                <a:gd name="connsiteX26" fmla="*/ 8515178 w 10876067"/>
                <a:gd name="connsiteY26" fmla="*/ 10954661 h 11070708"/>
                <a:gd name="connsiteX27" fmla="*/ 10015263 w 10876067"/>
                <a:gd name="connsiteY27" fmla="*/ 10141763 h 11070708"/>
                <a:gd name="connsiteX28" fmla="*/ 10876067 w 10876067"/>
                <a:gd name="connsiteY28" fmla="*/ 8997049 h 11070708"/>
                <a:gd name="connsiteX29" fmla="*/ 10812885 w 10876067"/>
                <a:gd name="connsiteY29" fmla="*/ 7574973 h 11070708"/>
                <a:gd name="connsiteX30" fmla="*/ 10490087 w 10876067"/>
                <a:gd name="connsiteY30" fmla="*/ 7099460 h 11070708"/>
                <a:gd name="connsiteX31" fmla="*/ 9521221 w 10876067"/>
                <a:gd name="connsiteY31" fmla="*/ 6147842 h 11070708"/>
                <a:gd name="connsiteX32" fmla="*/ 4624687 w 10876067"/>
                <a:gd name="connsiteY32" fmla="*/ 1880899 h 11070708"/>
                <a:gd name="connsiteX33" fmla="*/ 3719572 w 10876067"/>
                <a:gd name="connsiteY33" fmla="*/ 1324587 h 11070708"/>
                <a:gd name="connsiteX34" fmla="*/ 3643373 w 10876067"/>
                <a:gd name="connsiteY34" fmla="*/ 1461763 h 11070708"/>
                <a:gd name="connsiteX0" fmla="*/ 3643373 w 10876067"/>
                <a:gd name="connsiteY0" fmla="*/ 1461763 h 11070708"/>
                <a:gd name="connsiteX1" fmla="*/ 4390729 w 10876067"/>
                <a:gd name="connsiteY1" fmla="*/ 2041573 h 11070708"/>
                <a:gd name="connsiteX2" fmla="*/ 4134030 w 10876067"/>
                <a:gd name="connsiteY2" fmla="*/ 2148262 h 11070708"/>
                <a:gd name="connsiteX3" fmla="*/ 5755428 w 10876067"/>
                <a:gd name="connsiteY3" fmla="*/ 3548546 h 11070708"/>
                <a:gd name="connsiteX4" fmla="*/ 6076725 w 10876067"/>
                <a:gd name="connsiteY4" fmla="*/ 3890160 h 11070708"/>
                <a:gd name="connsiteX5" fmla="*/ 3594109 w 10876067"/>
                <a:gd name="connsiteY5" fmla="*/ 4655430 h 11070708"/>
                <a:gd name="connsiteX6" fmla="*/ 3806285 w 10876067"/>
                <a:gd name="connsiteY6" fmla="*/ 4899329 h 11070708"/>
                <a:gd name="connsiteX7" fmla="*/ 4518988 w 10876067"/>
                <a:gd name="connsiteY7" fmla="*/ 4590004 h 11070708"/>
                <a:gd name="connsiteX8" fmla="*/ 4949900 w 10876067"/>
                <a:gd name="connsiteY8" fmla="*/ 5105127 h 11070708"/>
                <a:gd name="connsiteX9" fmla="*/ 6698217 w 10876067"/>
                <a:gd name="connsiteY9" fmla="*/ 4466933 h 11070708"/>
                <a:gd name="connsiteX10" fmla="*/ 7773200 w 10876067"/>
                <a:gd name="connsiteY10" fmla="*/ 5507812 h 11070708"/>
                <a:gd name="connsiteX11" fmla="*/ 8214195 w 10876067"/>
                <a:gd name="connsiteY11" fmla="*/ 5375115 h 11070708"/>
                <a:gd name="connsiteX12" fmla="*/ 9453715 w 10876067"/>
                <a:gd name="connsiteY12" fmla="*/ 6302170 h 11070708"/>
                <a:gd name="connsiteX13" fmla="*/ 10311837 w 10876067"/>
                <a:gd name="connsiteY13" fmla="*/ 7273056 h 11070708"/>
                <a:gd name="connsiteX14" fmla="*/ 10618557 w 10876067"/>
                <a:gd name="connsiteY14" fmla="*/ 7711084 h 11070708"/>
                <a:gd name="connsiteX15" fmla="*/ 10677334 w 10876067"/>
                <a:gd name="connsiteY15" fmla="*/ 8916268 h 11070708"/>
                <a:gd name="connsiteX16" fmla="*/ 9833571 w 10876067"/>
                <a:gd name="connsiteY16" fmla="*/ 9993815 h 11070708"/>
                <a:gd name="connsiteX17" fmla="*/ 8425383 w 10876067"/>
                <a:gd name="connsiteY17" fmla="*/ 10729290 h 11070708"/>
                <a:gd name="connsiteX18" fmla="*/ 6655710 w 10876067"/>
                <a:gd name="connsiteY18" fmla="*/ 10791196 h 11070708"/>
                <a:gd name="connsiteX19" fmla="*/ 5209433 w 10876067"/>
                <a:gd name="connsiteY19" fmla="*/ 10216285 h 11070708"/>
                <a:gd name="connsiteX20" fmla="*/ 4278172 w 10876067"/>
                <a:gd name="connsiteY20" fmla="*/ 9047920 h 11070708"/>
                <a:gd name="connsiteX21" fmla="*/ 0 w 10876067"/>
                <a:gd name="connsiteY21" fmla="*/ 0 h 11070708"/>
                <a:gd name="connsiteX22" fmla="*/ 29296 w 10876067"/>
                <a:gd name="connsiteY22" fmla="*/ 590651 h 11070708"/>
                <a:gd name="connsiteX23" fmla="*/ 4056269 w 10876067"/>
                <a:gd name="connsiteY23" fmla="*/ 9447119 h 11070708"/>
                <a:gd name="connsiteX24" fmla="*/ 5148356 w 10876067"/>
                <a:gd name="connsiteY24" fmla="*/ 10469331 h 11070708"/>
                <a:gd name="connsiteX25" fmla="*/ 6644613 w 10876067"/>
                <a:gd name="connsiteY25" fmla="*/ 11014461 h 11070708"/>
                <a:gd name="connsiteX26" fmla="*/ 8515178 w 10876067"/>
                <a:gd name="connsiteY26" fmla="*/ 10954661 h 11070708"/>
                <a:gd name="connsiteX27" fmla="*/ 10015263 w 10876067"/>
                <a:gd name="connsiteY27" fmla="*/ 10141763 h 11070708"/>
                <a:gd name="connsiteX28" fmla="*/ 10876067 w 10876067"/>
                <a:gd name="connsiteY28" fmla="*/ 8997049 h 11070708"/>
                <a:gd name="connsiteX29" fmla="*/ 10812885 w 10876067"/>
                <a:gd name="connsiteY29" fmla="*/ 7574973 h 11070708"/>
                <a:gd name="connsiteX30" fmla="*/ 10490087 w 10876067"/>
                <a:gd name="connsiteY30" fmla="*/ 7099460 h 11070708"/>
                <a:gd name="connsiteX31" fmla="*/ 9521221 w 10876067"/>
                <a:gd name="connsiteY31" fmla="*/ 6147842 h 11070708"/>
                <a:gd name="connsiteX32" fmla="*/ 4624687 w 10876067"/>
                <a:gd name="connsiteY32" fmla="*/ 1880899 h 11070708"/>
                <a:gd name="connsiteX33" fmla="*/ 3719572 w 10876067"/>
                <a:gd name="connsiteY33" fmla="*/ 1324587 h 11070708"/>
                <a:gd name="connsiteX34" fmla="*/ 3643373 w 10876067"/>
                <a:gd name="connsiteY34" fmla="*/ 1461763 h 11070708"/>
                <a:gd name="connsiteX0" fmla="*/ 3643373 w 10876067"/>
                <a:gd name="connsiteY0" fmla="*/ 1461763 h 11070708"/>
                <a:gd name="connsiteX1" fmla="*/ 4390729 w 10876067"/>
                <a:gd name="connsiteY1" fmla="*/ 2041573 h 11070708"/>
                <a:gd name="connsiteX2" fmla="*/ 4134030 w 10876067"/>
                <a:gd name="connsiteY2" fmla="*/ 2148262 h 11070708"/>
                <a:gd name="connsiteX3" fmla="*/ 5755428 w 10876067"/>
                <a:gd name="connsiteY3" fmla="*/ 3548546 h 11070708"/>
                <a:gd name="connsiteX4" fmla="*/ 6076725 w 10876067"/>
                <a:gd name="connsiteY4" fmla="*/ 3890160 h 11070708"/>
                <a:gd name="connsiteX5" fmla="*/ 3594109 w 10876067"/>
                <a:gd name="connsiteY5" fmla="*/ 4655430 h 11070708"/>
                <a:gd name="connsiteX6" fmla="*/ 3806285 w 10876067"/>
                <a:gd name="connsiteY6" fmla="*/ 4899329 h 11070708"/>
                <a:gd name="connsiteX7" fmla="*/ 4518988 w 10876067"/>
                <a:gd name="connsiteY7" fmla="*/ 4590004 h 11070708"/>
                <a:gd name="connsiteX8" fmla="*/ 4949900 w 10876067"/>
                <a:gd name="connsiteY8" fmla="*/ 5105127 h 11070708"/>
                <a:gd name="connsiteX9" fmla="*/ 6698217 w 10876067"/>
                <a:gd name="connsiteY9" fmla="*/ 4466933 h 11070708"/>
                <a:gd name="connsiteX10" fmla="*/ 7773200 w 10876067"/>
                <a:gd name="connsiteY10" fmla="*/ 5507812 h 11070708"/>
                <a:gd name="connsiteX11" fmla="*/ 8214195 w 10876067"/>
                <a:gd name="connsiteY11" fmla="*/ 5375115 h 11070708"/>
                <a:gd name="connsiteX12" fmla="*/ 9453715 w 10876067"/>
                <a:gd name="connsiteY12" fmla="*/ 6302170 h 11070708"/>
                <a:gd name="connsiteX13" fmla="*/ 10311837 w 10876067"/>
                <a:gd name="connsiteY13" fmla="*/ 7273056 h 11070708"/>
                <a:gd name="connsiteX14" fmla="*/ 10618557 w 10876067"/>
                <a:gd name="connsiteY14" fmla="*/ 7711084 h 11070708"/>
                <a:gd name="connsiteX15" fmla="*/ 10677334 w 10876067"/>
                <a:gd name="connsiteY15" fmla="*/ 8916268 h 11070708"/>
                <a:gd name="connsiteX16" fmla="*/ 9833571 w 10876067"/>
                <a:gd name="connsiteY16" fmla="*/ 9993815 h 11070708"/>
                <a:gd name="connsiteX17" fmla="*/ 8425383 w 10876067"/>
                <a:gd name="connsiteY17" fmla="*/ 10729290 h 11070708"/>
                <a:gd name="connsiteX18" fmla="*/ 6655710 w 10876067"/>
                <a:gd name="connsiteY18" fmla="*/ 10791196 h 11070708"/>
                <a:gd name="connsiteX19" fmla="*/ 5209433 w 10876067"/>
                <a:gd name="connsiteY19" fmla="*/ 10216285 h 11070708"/>
                <a:gd name="connsiteX20" fmla="*/ 4278172 w 10876067"/>
                <a:gd name="connsiteY20" fmla="*/ 9047920 h 11070708"/>
                <a:gd name="connsiteX21" fmla="*/ 0 w 10876067"/>
                <a:gd name="connsiteY21" fmla="*/ 0 h 11070708"/>
                <a:gd name="connsiteX22" fmla="*/ 29296 w 10876067"/>
                <a:gd name="connsiteY22" fmla="*/ 590651 h 11070708"/>
                <a:gd name="connsiteX23" fmla="*/ 4056269 w 10876067"/>
                <a:gd name="connsiteY23" fmla="*/ 9447119 h 11070708"/>
                <a:gd name="connsiteX24" fmla="*/ 5148356 w 10876067"/>
                <a:gd name="connsiteY24" fmla="*/ 10469331 h 11070708"/>
                <a:gd name="connsiteX25" fmla="*/ 6644613 w 10876067"/>
                <a:gd name="connsiteY25" fmla="*/ 11014461 h 11070708"/>
                <a:gd name="connsiteX26" fmla="*/ 8515178 w 10876067"/>
                <a:gd name="connsiteY26" fmla="*/ 10954661 h 11070708"/>
                <a:gd name="connsiteX27" fmla="*/ 10015263 w 10876067"/>
                <a:gd name="connsiteY27" fmla="*/ 10141763 h 11070708"/>
                <a:gd name="connsiteX28" fmla="*/ 10876067 w 10876067"/>
                <a:gd name="connsiteY28" fmla="*/ 8997049 h 11070708"/>
                <a:gd name="connsiteX29" fmla="*/ 10812885 w 10876067"/>
                <a:gd name="connsiteY29" fmla="*/ 7574973 h 11070708"/>
                <a:gd name="connsiteX30" fmla="*/ 10490087 w 10876067"/>
                <a:gd name="connsiteY30" fmla="*/ 7099460 h 11070708"/>
                <a:gd name="connsiteX31" fmla="*/ 9521221 w 10876067"/>
                <a:gd name="connsiteY31" fmla="*/ 6147842 h 11070708"/>
                <a:gd name="connsiteX32" fmla="*/ 4624687 w 10876067"/>
                <a:gd name="connsiteY32" fmla="*/ 1880899 h 11070708"/>
                <a:gd name="connsiteX33" fmla="*/ 3719572 w 10876067"/>
                <a:gd name="connsiteY33" fmla="*/ 1324587 h 11070708"/>
                <a:gd name="connsiteX34" fmla="*/ 3643373 w 10876067"/>
                <a:gd name="connsiteY34" fmla="*/ 1461763 h 11070708"/>
                <a:gd name="connsiteX0" fmla="*/ 3643373 w 10876067"/>
                <a:gd name="connsiteY0" fmla="*/ 1461763 h 11070708"/>
                <a:gd name="connsiteX1" fmla="*/ 4390729 w 10876067"/>
                <a:gd name="connsiteY1" fmla="*/ 2041573 h 11070708"/>
                <a:gd name="connsiteX2" fmla="*/ 4134030 w 10876067"/>
                <a:gd name="connsiteY2" fmla="*/ 2148262 h 11070708"/>
                <a:gd name="connsiteX3" fmla="*/ 5755428 w 10876067"/>
                <a:gd name="connsiteY3" fmla="*/ 3548546 h 11070708"/>
                <a:gd name="connsiteX4" fmla="*/ 6076725 w 10876067"/>
                <a:gd name="connsiteY4" fmla="*/ 3890160 h 11070708"/>
                <a:gd name="connsiteX5" fmla="*/ 3594109 w 10876067"/>
                <a:gd name="connsiteY5" fmla="*/ 4655430 h 11070708"/>
                <a:gd name="connsiteX6" fmla="*/ 3806285 w 10876067"/>
                <a:gd name="connsiteY6" fmla="*/ 4899329 h 11070708"/>
                <a:gd name="connsiteX7" fmla="*/ 4518988 w 10876067"/>
                <a:gd name="connsiteY7" fmla="*/ 4590004 h 11070708"/>
                <a:gd name="connsiteX8" fmla="*/ 4949900 w 10876067"/>
                <a:gd name="connsiteY8" fmla="*/ 5105127 h 11070708"/>
                <a:gd name="connsiteX9" fmla="*/ 6698217 w 10876067"/>
                <a:gd name="connsiteY9" fmla="*/ 4466933 h 11070708"/>
                <a:gd name="connsiteX10" fmla="*/ 7773200 w 10876067"/>
                <a:gd name="connsiteY10" fmla="*/ 5507812 h 11070708"/>
                <a:gd name="connsiteX11" fmla="*/ 8214195 w 10876067"/>
                <a:gd name="connsiteY11" fmla="*/ 5375115 h 11070708"/>
                <a:gd name="connsiteX12" fmla="*/ 9453715 w 10876067"/>
                <a:gd name="connsiteY12" fmla="*/ 6302170 h 11070708"/>
                <a:gd name="connsiteX13" fmla="*/ 10311837 w 10876067"/>
                <a:gd name="connsiteY13" fmla="*/ 7273056 h 11070708"/>
                <a:gd name="connsiteX14" fmla="*/ 10618557 w 10876067"/>
                <a:gd name="connsiteY14" fmla="*/ 7711084 h 11070708"/>
                <a:gd name="connsiteX15" fmla="*/ 10677334 w 10876067"/>
                <a:gd name="connsiteY15" fmla="*/ 8916268 h 11070708"/>
                <a:gd name="connsiteX16" fmla="*/ 9833571 w 10876067"/>
                <a:gd name="connsiteY16" fmla="*/ 9993815 h 11070708"/>
                <a:gd name="connsiteX17" fmla="*/ 8425383 w 10876067"/>
                <a:gd name="connsiteY17" fmla="*/ 10729290 h 11070708"/>
                <a:gd name="connsiteX18" fmla="*/ 6655710 w 10876067"/>
                <a:gd name="connsiteY18" fmla="*/ 10791196 h 11070708"/>
                <a:gd name="connsiteX19" fmla="*/ 5209433 w 10876067"/>
                <a:gd name="connsiteY19" fmla="*/ 10216285 h 11070708"/>
                <a:gd name="connsiteX20" fmla="*/ 4278172 w 10876067"/>
                <a:gd name="connsiteY20" fmla="*/ 9047920 h 11070708"/>
                <a:gd name="connsiteX21" fmla="*/ 0 w 10876067"/>
                <a:gd name="connsiteY21" fmla="*/ 0 h 11070708"/>
                <a:gd name="connsiteX22" fmla="*/ 29296 w 10876067"/>
                <a:gd name="connsiteY22" fmla="*/ 590651 h 11070708"/>
                <a:gd name="connsiteX23" fmla="*/ 4056269 w 10876067"/>
                <a:gd name="connsiteY23" fmla="*/ 9447119 h 11070708"/>
                <a:gd name="connsiteX24" fmla="*/ 5148356 w 10876067"/>
                <a:gd name="connsiteY24" fmla="*/ 10469331 h 11070708"/>
                <a:gd name="connsiteX25" fmla="*/ 6644613 w 10876067"/>
                <a:gd name="connsiteY25" fmla="*/ 11014461 h 11070708"/>
                <a:gd name="connsiteX26" fmla="*/ 8515178 w 10876067"/>
                <a:gd name="connsiteY26" fmla="*/ 10954661 h 11070708"/>
                <a:gd name="connsiteX27" fmla="*/ 10015263 w 10876067"/>
                <a:gd name="connsiteY27" fmla="*/ 10141763 h 11070708"/>
                <a:gd name="connsiteX28" fmla="*/ 10876067 w 10876067"/>
                <a:gd name="connsiteY28" fmla="*/ 8997049 h 11070708"/>
                <a:gd name="connsiteX29" fmla="*/ 10812885 w 10876067"/>
                <a:gd name="connsiteY29" fmla="*/ 7574973 h 11070708"/>
                <a:gd name="connsiteX30" fmla="*/ 10490087 w 10876067"/>
                <a:gd name="connsiteY30" fmla="*/ 7099460 h 11070708"/>
                <a:gd name="connsiteX31" fmla="*/ 9521221 w 10876067"/>
                <a:gd name="connsiteY31" fmla="*/ 6147842 h 11070708"/>
                <a:gd name="connsiteX32" fmla="*/ 4624687 w 10876067"/>
                <a:gd name="connsiteY32" fmla="*/ 1880899 h 11070708"/>
                <a:gd name="connsiteX33" fmla="*/ 3719572 w 10876067"/>
                <a:gd name="connsiteY33" fmla="*/ 1324587 h 11070708"/>
                <a:gd name="connsiteX34" fmla="*/ 3643373 w 10876067"/>
                <a:gd name="connsiteY34" fmla="*/ 1461763 h 11070708"/>
                <a:gd name="connsiteX0" fmla="*/ 3643373 w 11001616"/>
                <a:gd name="connsiteY0" fmla="*/ 1461763 h 11070708"/>
                <a:gd name="connsiteX1" fmla="*/ 4390729 w 11001616"/>
                <a:gd name="connsiteY1" fmla="*/ 2041573 h 11070708"/>
                <a:gd name="connsiteX2" fmla="*/ 4134030 w 11001616"/>
                <a:gd name="connsiteY2" fmla="*/ 2148262 h 11070708"/>
                <a:gd name="connsiteX3" fmla="*/ 5755428 w 11001616"/>
                <a:gd name="connsiteY3" fmla="*/ 3548546 h 11070708"/>
                <a:gd name="connsiteX4" fmla="*/ 6076725 w 11001616"/>
                <a:gd name="connsiteY4" fmla="*/ 3890160 h 11070708"/>
                <a:gd name="connsiteX5" fmla="*/ 3594109 w 11001616"/>
                <a:gd name="connsiteY5" fmla="*/ 4655430 h 11070708"/>
                <a:gd name="connsiteX6" fmla="*/ 3806285 w 11001616"/>
                <a:gd name="connsiteY6" fmla="*/ 4899329 h 11070708"/>
                <a:gd name="connsiteX7" fmla="*/ 4518988 w 11001616"/>
                <a:gd name="connsiteY7" fmla="*/ 4590004 h 11070708"/>
                <a:gd name="connsiteX8" fmla="*/ 4949900 w 11001616"/>
                <a:gd name="connsiteY8" fmla="*/ 5105127 h 11070708"/>
                <a:gd name="connsiteX9" fmla="*/ 6698217 w 11001616"/>
                <a:gd name="connsiteY9" fmla="*/ 4466933 h 11070708"/>
                <a:gd name="connsiteX10" fmla="*/ 7773200 w 11001616"/>
                <a:gd name="connsiteY10" fmla="*/ 5507812 h 11070708"/>
                <a:gd name="connsiteX11" fmla="*/ 8214195 w 11001616"/>
                <a:gd name="connsiteY11" fmla="*/ 5375115 h 11070708"/>
                <a:gd name="connsiteX12" fmla="*/ 9453715 w 11001616"/>
                <a:gd name="connsiteY12" fmla="*/ 6302170 h 11070708"/>
                <a:gd name="connsiteX13" fmla="*/ 10311837 w 11001616"/>
                <a:gd name="connsiteY13" fmla="*/ 7273056 h 11070708"/>
                <a:gd name="connsiteX14" fmla="*/ 10618557 w 11001616"/>
                <a:gd name="connsiteY14" fmla="*/ 7711084 h 11070708"/>
                <a:gd name="connsiteX15" fmla="*/ 10677334 w 11001616"/>
                <a:gd name="connsiteY15" fmla="*/ 8916268 h 11070708"/>
                <a:gd name="connsiteX16" fmla="*/ 9833571 w 11001616"/>
                <a:gd name="connsiteY16" fmla="*/ 9993815 h 11070708"/>
                <a:gd name="connsiteX17" fmla="*/ 8425383 w 11001616"/>
                <a:gd name="connsiteY17" fmla="*/ 10729290 h 11070708"/>
                <a:gd name="connsiteX18" fmla="*/ 6655710 w 11001616"/>
                <a:gd name="connsiteY18" fmla="*/ 10791196 h 11070708"/>
                <a:gd name="connsiteX19" fmla="*/ 5209433 w 11001616"/>
                <a:gd name="connsiteY19" fmla="*/ 10216285 h 11070708"/>
                <a:gd name="connsiteX20" fmla="*/ 4278172 w 11001616"/>
                <a:gd name="connsiteY20" fmla="*/ 9047920 h 11070708"/>
                <a:gd name="connsiteX21" fmla="*/ 0 w 11001616"/>
                <a:gd name="connsiteY21" fmla="*/ 0 h 11070708"/>
                <a:gd name="connsiteX22" fmla="*/ 29296 w 11001616"/>
                <a:gd name="connsiteY22" fmla="*/ 590651 h 11070708"/>
                <a:gd name="connsiteX23" fmla="*/ 4056269 w 11001616"/>
                <a:gd name="connsiteY23" fmla="*/ 9447119 h 11070708"/>
                <a:gd name="connsiteX24" fmla="*/ 5148356 w 11001616"/>
                <a:gd name="connsiteY24" fmla="*/ 10469331 h 11070708"/>
                <a:gd name="connsiteX25" fmla="*/ 6644613 w 11001616"/>
                <a:gd name="connsiteY25" fmla="*/ 11014461 h 11070708"/>
                <a:gd name="connsiteX26" fmla="*/ 8515178 w 11001616"/>
                <a:gd name="connsiteY26" fmla="*/ 10954661 h 11070708"/>
                <a:gd name="connsiteX27" fmla="*/ 10015263 w 11001616"/>
                <a:gd name="connsiteY27" fmla="*/ 10141763 h 11070708"/>
                <a:gd name="connsiteX28" fmla="*/ 10876067 w 11001616"/>
                <a:gd name="connsiteY28" fmla="*/ 8997049 h 11070708"/>
                <a:gd name="connsiteX29" fmla="*/ 10812885 w 11001616"/>
                <a:gd name="connsiteY29" fmla="*/ 7574973 h 11070708"/>
                <a:gd name="connsiteX30" fmla="*/ 10490087 w 11001616"/>
                <a:gd name="connsiteY30" fmla="*/ 7099460 h 11070708"/>
                <a:gd name="connsiteX31" fmla="*/ 9521221 w 11001616"/>
                <a:gd name="connsiteY31" fmla="*/ 6147842 h 11070708"/>
                <a:gd name="connsiteX32" fmla="*/ 4624687 w 11001616"/>
                <a:gd name="connsiteY32" fmla="*/ 1880899 h 11070708"/>
                <a:gd name="connsiteX33" fmla="*/ 3719572 w 11001616"/>
                <a:gd name="connsiteY33" fmla="*/ 1324587 h 11070708"/>
                <a:gd name="connsiteX34" fmla="*/ 3643373 w 11001616"/>
                <a:gd name="connsiteY34" fmla="*/ 1461763 h 11070708"/>
                <a:gd name="connsiteX0" fmla="*/ 3643373 w 11001616"/>
                <a:gd name="connsiteY0" fmla="*/ 1461763 h 11070708"/>
                <a:gd name="connsiteX1" fmla="*/ 4390729 w 11001616"/>
                <a:gd name="connsiteY1" fmla="*/ 2041573 h 11070708"/>
                <a:gd name="connsiteX2" fmla="*/ 4134030 w 11001616"/>
                <a:gd name="connsiteY2" fmla="*/ 2148262 h 11070708"/>
                <a:gd name="connsiteX3" fmla="*/ 5755428 w 11001616"/>
                <a:gd name="connsiteY3" fmla="*/ 3548546 h 11070708"/>
                <a:gd name="connsiteX4" fmla="*/ 6076725 w 11001616"/>
                <a:gd name="connsiteY4" fmla="*/ 3890160 h 11070708"/>
                <a:gd name="connsiteX5" fmla="*/ 3594109 w 11001616"/>
                <a:gd name="connsiteY5" fmla="*/ 4655430 h 11070708"/>
                <a:gd name="connsiteX6" fmla="*/ 3806285 w 11001616"/>
                <a:gd name="connsiteY6" fmla="*/ 4899329 h 11070708"/>
                <a:gd name="connsiteX7" fmla="*/ 4518988 w 11001616"/>
                <a:gd name="connsiteY7" fmla="*/ 4590004 h 11070708"/>
                <a:gd name="connsiteX8" fmla="*/ 4949900 w 11001616"/>
                <a:gd name="connsiteY8" fmla="*/ 5105127 h 11070708"/>
                <a:gd name="connsiteX9" fmla="*/ 6698217 w 11001616"/>
                <a:gd name="connsiteY9" fmla="*/ 4466933 h 11070708"/>
                <a:gd name="connsiteX10" fmla="*/ 7773200 w 11001616"/>
                <a:gd name="connsiteY10" fmla="*/ 5507812 h 11070708"/>
                <a:gd name="connsiteX11" fmla="*/ 8214195 w 11001616"/>
                <a:gd name="connsiteY11" fmla="*/ 5375115 h 11070708"/>
                <a:gd name="connsiteX12" fmla="*/ 9453715 w 11001616"/>
                <a:gd name="connsiteY12" fmla="*/ 6302170 h 11070708"/>
                <a:gd name="connsiteX13" fmla="*/ 10311837 w 11001616"/>
                <a:gd name="connsiteY13" fmla="*/ 7273056 h 11070708"/>
                <a:gd name="connsiteX14" fmla="*/ 10618557 w 11001616"/>
                <a:gd name="connsiteY14" fmla="*/ 7711084 h 11070708"/>
                <a:gd name="connsiteX15" fmla="*/ 10677334 w 11001616"/>
                <a:gd name="connsiteY15" fmla="*/ 8916268 h 11070708"/>
                <a:gd name="connsiteX16" fmla="*/ 9833571 w 11001616"/>
                <a:gd name="connsiteY16" fmla="*/ 9993815 h 11070708"/>
                <a:gd name="connsiteX17" fmla="*/ 8425383 w 11001616"/>
                <a:gd name="connsiteY17" fmla="*/ 10729290 h 11070708"/>
                <a:gd name="connsiteX18" fmla="*/ 6655710 w 11001616"/>
                <a:gd name="connsiteY18" fmla="*/ 10791196 h 11070708"/>
                <a:gd name="connsiteX19" fmla="*/ 5209433 w 11001616"/>
                <a:gd name="connsiteY19" fmla="*/ 10216285 h 11070708"/>
                <a:gd name="connsiteX20" fmla="*/ 4278172 w 11001616"/>
                <a:gd name="connsiteY20" fmla="*/ 9047920 h 11070708"/>
                <a:gd name="connsiteX21" fmla="*/ 0 w 11001616"/>
                <a:gd name="connsiteY21" fmla="*/ 0 h 11070708"/>
                <a:gd name="connsiteX22" fmla="*/ 29296 w 11001616"/>
                <a:gd name="connsiteY22" fmla="*/ 590651 h 11070708"/>
                <a:gd name="connsiteX23" fmla="*/ 4056269 w 11001616"/>
                <a:gd name="connsiteY23" fmla="*/ 9447119 h 11070708"/>
                <a:gd name="connsiteX24" fmla="*/ 5148356 w 11001616"/>
                <a:gd name="connsiteY24" fmla="*/ 10469331 h 11070708"/>
                <a:gd name="connsiteX25" fmla="*/ 6644613 w 11001616"/>
                <a:gd name="connsiteY25" fmla="*/ 11014461 h 11070708"/>
                <a:gd name="connsiteX26" fmla="*/ 8515178 w 11001616"/>
                <a:gd name="connsiteY26" fmla="*/ 10954661 h 11070708"/>
                <a:gd name="connsiteX27" fmla="*/ 10015263 w 11001616"/>
                <a:gd name="connsiteY27" fmla="*/ 10141763 h 11070708"/>
                <a:gd name="connsiteX28" fmla="*/ 10876067 w 11001616"/>
                <a:gd name="connsiteY28" fmla="*/ 8997049 h 11070708"/>
                <a:gd name="connsiteX29" fmla="*/ 10812885 w 11001616"/>
                <a:gd name="connsiteY29" fmla="*/ 7574973 h 11070708"/>
                <a:gd name="connsiteX30" fmla="*/ 10490087 w 11001616"/>
                <a:gd name="connsiteY30" fmla="*/ 7099460 h 11070708"/>
                <a:gd name="connsiteX31" fmla="*/ 9521221 w 11001616"/>
                <a:gd name="connsiteY31" fmla="*/ 6147842 h 11070708"/>
                <a:gd name="connsiteX32" fmla="*/ 4624687 w 11001616"/>
                <a:gd name="connsiteY32" fmla="*/ 1880899 h 11070708"/>
                <a:gd name="connsiteX33" fmla="*/ 3719572 w 11001616"/>
                <a:gd name="connsiteY33" fmla="*/ 1324587 h 11070708"/>
                <a:gd name="connsiteX34" fmla="*/ 3643373 w 11001616"/>
                <a:gd name="connsiteY34" fmla="*/ 1461763 h 11070708"/>
                <a:gd name="connsiteX0" fmla="*/ 3643373 w 11001616"/>
                <a:gd name="connsiteY0" fmla="*/ 1461763 h 11070708"/>
                <a:gd name="connsiteX1" fmla="*/ 4390729 w 11001616"/>
                <a:gd name="connsiteY1" fmla="*/ 2041573 h 11070708"/>
                <a:gd name="connsiteX2" fmla="*/ 4134030 w 11001616"/>
                <a:gd name="connsiteY2" fmla="*/ 2148262 h 11070708"/>
                <a:gd name="connsiteX3" fmla="*/ 5755428 w 11001616"/>
                <a:gd name="connsiteY3" fmla="*/ 3548546 h 11070708"/>
                <a:gd name="connsiteX4" fmla="*/ 6076725 w 11001616"/>
                <a:gd name="connsiteY4" fmla="*/ 3890160 h 11070708"/>
                <a:gd name="connsiteX5" fmla="*/ 3594109 w 11001616"/>
                <a:gd name="connsiteY5" fmla="*/ 4655430 h 11070708"/>
                <a:gd name="connsiteX6" fmla="*/ 3806285 w 11001616"/>
                <a:gd name="connsiteY6" fmla="*/ 4899329 h 11070708"/>
                <a:gd name="connsiteX7" fmla="*/ 4518988 w 11001616"/>
                <a:gd name="connsiteY7" fmla="*/ 4590004 h 11070708"/>
                <a:gd name="connsiteX8" fmla="*/ 4949900 w 11001616"/>
                <a:gd name="connsiteY8" fmla="*/ 5105127 h 11070708"/>
                <a:gd name="connsiteX9" fmla="*/ 6698217 w 11001616"/>
                <a:gd name="connsiteY9" fmla="*/ 4466933 h 11070708"/>
                <a:gd name="connsiteX10" fmla="*/ 7773200 w 11001616"/>
                <a:gd name="connsiteY10" fmla="*/ 5507812 h 11070708"/>
                <a:gd name="connsiteX11" fmla="*/ 8214195 w 11001616"/>
                <a:gd name="connsiteY11" fmla="*/ 5375115 h 11070708"/>
                <a:gd name="connsiteX12" fmla="*/ 9453715 w 11001616"/>
                <a:gd name="connsiteY12" fmla="*/ 6302170 h 11070708"/>
                <a:gd name="connsiteX13" fmla="*/ 10311837 w 11001616"/>
                <a:gd name="connsiteY13" fmla="*/ 7273056 h 11070708"/>
                <a:gd name="connsiteX14" fmla="*/ 10618557 w 11001616"/>
                <a:gd name="connsiteY14" fmla="*/ 7711084 h 11070708"/>
                <a:gd name="connsiteX15" fmla="*/ 10677334 w 11001616"/>
                <a:gd name="connsiteY15" fmla="*/ 8916268 h 11070708"/>
                <a:gd name="connsiteX16" fmla="*/ 9833571 w 11001616"/>
                <a:gd name="connsiteY16" fmla="*/ 9993815 h 11070708"/>
                <a:gd name="connsiteX17" fmla="*/ 8425383 w 11001616"/>
                <a:gd name="connsiteY17" fmla="*/ 10729290 h 11070708"/>
                <a:gd name="connsiteX18" fmla="*/ 6655710 w 11001616"/>
                <a:gd name="connsiteY18" fmla="*/ 10791196 h 11070708"/>
                <a:gd name="connsiteX19" fmla="*/ 5209433 w 11001616"/>
                <a:gd name="connsiteY19" fmla="*/ 10216285 h 11070708"/>
                <a:gd name="connsiteX20" fmla="*/ 4278172 w 11001616"/>
                <a:gd name="connsiteY20" fmla="*/ 9047920 h 11070708"/>
                <a:gd name="connsiteX21" fmla="*/ 0 w 11001616"/>
                <a:gd name="connsiteY21" fmla="*/ 0 h 11070708"/>
                <a:gd name="connsiteX22" fmla="*/ 29296 w 11001616"/>
                <a:gd name="connsiteY22" fmla="*/ 590651 h 11070708"/>
                <a:gd name="connsiteX23" fmla="*/ 4056269 w 11001616"/>
                <a:gd name="connsiteY23" fmla="*/ 9447119 h 11070708"/>
                <a:gd name="connsiteX24" fmla="*/ 5148356 w 11001616"/>
                <a:gd name="connsiteY24" fmla="*/ 10469331 h 11070708"/>
                <a:gd name="connsiteX25" fmla="*/ 6644613 w 11001616"/>
                <a:gd name="connsiteY25" fmla="*/ 11014461 h 11070708"/>
                <a:gd name="connsiteX26" fmla="*/ 8515178 w 11001616"/>
                <a:gd name="connsiteY26" fmla="*/ 10954661 h 11070708"/>
                <a:gd name="connsiteX27" fmla="*/ 10015263 w 11001616"/>
                <a:gd name="connsiteY27" fmla="*/ 10141763 h 11070708"/>
                <a:gd name="connsiteX28" fmla="*/ 10876067 w 11001616"/>
                <a:gd name="connsiteY28" fmla="*/ 8997049 h 11070708"/>
                <a:gd name="connsiteX29" fmla="*/ 10812885 w 11001616"/>
                <a:gd name="connsiteY29" fmla="*/ 7574973 h 11070708"/>
                <a:gd name="connsiteX30" fmla="*/ 10490087 w 11001616"/>
                <a:gd name="connsiteY30" fmla="*/ 7099460 h 11070708"/>
                <a:gd name="connsiteX31" fmla="*/ 9521221 w 11001616"/>
                <a:gd name="connsiteY31" fmla="*/ 6147842 h 11070708"/>
                <a:gd name="connsiteX32" fmla="*/ 4624687 w 11001616"/>
                <a:gd name="connsiteY32" fmla="*/ 1880899 h 11070708"/>
                <a:gd name="connsiteX33" fmla="*/ 3719572 w 11001616"/>
                <a:gd name="connsiteY33" fmla="*/ 1324587 h 11070708"/>
                <a:gd name="connsiteX34" fmla="*/ 3643373 w 11001616"/>
                <a:gd name="connsiteY34" fmla="*/ 1461763 h 11070708"/>
                <a:gd name="connsiteX0" fmla="*/ 3643373 w 10945017"/>
                <a:gd name="connsiteY0" fmla="*/ 1461763 h 11070708"/>
                <a:gd name="connsiteX1" fmla="*/ 4390729 w 10945017"/>
                <a:gd name="connsiteY1" fmla="*/ 2041573 h 11070708"/>
                <a:gd name="connsiteX2" fmla="*/ 4134030 w 10945017"/>
                <a:gd name="connsiteY2" fmla="*/ 2148262 h 11070708"/>
                <a:gd name="connsiteX3" fmla="*/ 5755428 w 10945017"/>
                <a:gd name="connsiteY3" fmla="*/ 3548546 h 11070708"/>
                <a:gd name="connsiteX4" fmla="*/ 6076725 w 10945017"/>
                <a:gd name="connsiteY4" fmla="*/ 3890160 h 11070708"/>
                <a:gd name="connsiteX5" fmla="*/ 3594109 w 10945017"/>
                <a:gd name="connsiteY5" fmla="*/ 4655430 h 11070708"/>
                <a:gd name="connsiteX6" fmla="*/ 3806285 w 10945017"/>
                <a:gd name="connsiteY6" fmla="*/ 4899329 h 11070708"/>
                <a:gd name="connsiteX7" fmla="*/ 4518988 w 10945017"/>
                <a:gd name="connsiteY7" fmla="*/ 4590004 h 11070708"/>
                <a:gd name="connsiteX8" fmla="*/ 4949900 w 10945017"/>
                <a:gd name="connsiteY8" fmla="*/ 5105127 h 11070708"/>
                <a:gd name="connsiteX9" fmla="*/ 6698217 w 10945017"/>
                <a:gd name="connsiteY9" fmla="*/ 4466933 h 11070708"/>
                <a:gd name="connsiteX10" fmla="*/ 7773200 w 10945017"/>
                <a:gd name="connsiteY10" fmla="*/ 5507812 h 11070708"/>
                <a:gd name="connsiteX11" fmla="*/ 8214195 w 10945017"/>
                <a:gd name="connsiteY11" fmla="*/ 5375115 h 11070708"/>
                <a:gd name="connsiteX12" fmla="*/ 9453715 w 10945017"/>
                <a:gd name="connsiteY12" fmla="*/ 6302170 h 11070708"/>
                <a:gd name="connsiteX13" fmla="*/ 10311837 w 10945017"/>
                <a:gd name="connsiteY13" fmla="*/ 7273056 h 11070708"/>
                <a:gd name="connsiteX14" fmla="*/ 10618557 w 10945017"/>
                <a:gd name="connsiteY14" fmla="*/ 7711084 h 11070708"/>
                <a:gd name="connsiteX15" fmla="*/ 10677334 w 10945017"/>
                <a:gd name="connsiteY15" fmla="*/ 8916268 h 11070708"/>
                <a:gd name="connsiteX16" fmla="*/ 9833571 w 10945017"/>
                <a:gd name="connsiteY16" fmla="*/ 9993815 h 11070708"/>
                <a:gd name="connsiteX17" fmla="*/ 8425383 w 10945017"/>
                <a:gd name="connsiteY17" fmla="*/ 10729290 h 11070708"/>
                <a:gd name="connsiteX18" fmla="*/ 6655710 w 10945017"/>
                <a:gd name="connsiteY18" fmla="*/ 10791196 h 11070708"/>
                <a:gd name="connsiteX19" fmla="*/ 5209433 w 10945017"/>
                <a:gd name="connsiteY19" fmla="*/ 10216285 h 11070708"/>
                <a:gd name="connsiteX20" fmla="*/ 4278172 w 10945017"/>
                <a:gd name="connsiteY20" fmla="*/ 9047920 h 11070708"/>
                <a:gd name="connsiteX21" fmla="*/ 0 w 10945017"/>
                <a:gd name="connsiteY21" fmla="*/ 0 h 11070708"/>
                <a:gd name="connsiteX22" fmla="*/ 29296 w 10945017"/>
                <a:gd name="connsiteY22" fmla="*/ 590651 h 11070708"/>
                <a:gd name="connsiteX23" fmla="*/ 4056269 w 10945017"/>
                <a:gd name="connsiteY23" fmla="*/ 9447119 h 11070708"/>
                <a:gd name="connsiteX24" fmla="*/ 5148356 w 10945017"/>
                <a:gd name="connsiteY24" fmla="*/ 10469331 h 11070708"/>
                <a:gd name="connsiteX25" fmla="*/ 6644613 w 10945017"/>
                <a:gd name="connsiteY25" fmla="*/ 11014461 h 11070708"/>
                <a:gd name="connsiteX26" fmla="*/ 8515178 w 10945017"/>
                <a:gd name="connsiteY26" fmla="*/ 10954661 h 11070708"/>
                <a:gd name="connsiteX27" fmla="*/ 10015263 w 10945017"/>
                <a:gd name="connsiteY27" fmla="*/ 10141763 h 11070708"/>
                <a:gd name="connsiteX28" fmla="*/ 10876067 w 10945017"/>
                <a:gd name="connsiteY28" fmla="*/ 8997049 h 11070708"/>
                <a:gd name="connsiteX29" fmla="*/ 10812885 w 10945017"/>
                <a:gd name="connsiteY29" fmla="*/ 7574973 h 11070708"/>
                <a:gd name="connsiteX30" fmla="*/ 10490087 w 10945017"/>
                <a:gd name="connsiteY30" fmla="*/ 7099460 h 11070708"/>
                <a:gd name="connsiteX31" fmla="*/ 9521221 w 10945017"/>
                <a:gd name="connsiteY31" fmla="*/ 6147842 h 11070708"/>
                <a:gd name="connsiteX32" fmla="*/ 4624687 w 10945017"/>
                <a:gd name="connsiteY32" fmla="*/ 1880899 h 11070708"/>
                <a:gd name="connsiteX33" fmla="*/ 3719572 w 10945017"/>
                <a:gd name="connsiteY33" fmla="*/ 1324587 h 11070708"/>
                <a:gd name="connsiteX34" fmla="*/ 3643373 w 10945017"/>
                <a:gd name="connsiteY34" fmla="*/ 1461763 h 11070708"/>
                <a:gd name="connsiteX0" fmla="*/ 3643373 w 10954706"/>
                <a:gd name="connsiteY0" fmla="*/ 1461763 h 11070708"/>
                <a:gd name="connsiteX1" fmla="*/ 4390729 w 10954706"/>
                <a:gd name="connsiteY1" fmla="*/ 2041573 h 11070708"/>
                <a:gd name="connsiteX2" fmla="*/ 4134030 w 10954706"/>
                <a:gd name="connsiteY2" fmla="*/ 2148262 h 11070708"/>
                <a:gd name="connsiteX3" fmla="*/ 5755428 w 10954706"/>
                <a:gd name="connsiteY3" fmla="*/ 3548546 h 11070708"/>
                <a:gd name="connsiteX4" fmla="*/ 6076725 w 10954706"/>
                <a:gd name="connsiteY4" fmla="*/ 3890160 h 11070708"/>
                <a:gd name="connsiteX5" fmla="*/ 3594109 w 10954706"/>
                <a:gd name="connsiteY5" fmla="*/ 4655430 h 11070708"/>
                <a:gd name="connsiteX6" fmla="*/ 3806285 w 10954706"/>
                <a:gd name="connsiteY6" fmla="*/ 4899329 h 11070708"/>
                <a:gd name="connsiteX7" fmla="*/ 4518988 w 10954706"/>
                <a:gd name="connsiteY7" fmla="*/ 4590004 h 11070708"/>
                <a:gd name="connsiteX8" fmla="*/ 4949900 w 10954706"/>
                <a:gd name="connsiteY8" fmla="*/ 5105127 h 11070708"/>
                <a:gd name="connsiteX9" fmla="*/ 6698217 w 10954706"/>
                <a:gd name="connsiteY9" fmla="*/ 4466933 h 11070708"/>
                <a:gd name="connsiteX10" fmla="*/ 7773200 w 10954706"/>
                <a:gd name="connsiteY10" fmla="*/ 5507812 h 11070708"/>
                <a:gd name="connsiteX11" fmla="*/ 8214195 w 10954706"/>
                <a:gd name="connsiteY11" fmla="*/ 5375115 h 11070708"/>
                <a:gd name="connsiteX12" fmla="*/ 9453715 w 10954706"/>
                <a:gd name="connsiteY12" fmla="*/ 6302170 h 11070708"/>
                <a:gd name="connsiteX13" fmla="*/ 10311837 w 10954706"/>
                <a:gd name="connsiteY13" fmla="*/ 7273056 h 11070708"/>
                <a:gd name="connsiteX14" fmla="*/ 10618557 w 10954706"/>
                <a:gd name="connsiteY14" fmla="*/ 7711084 h 11070708"/>
                <a:gd name="connsiteX15" fmla="*/ 10677334 w 10954706"/>
                <a:gd name="connsiteY15" fmla="*/ 8916268 h 11070708"/>
                <a:gd name="connsiteX16" fmla="*/ 9833571 w 10954706"/>
                <a:gd name="connsiteY16" fmla="*/ 9993815 h 11070708"/>
                <a:gd name="connsiteX17" fmla="*/ 8425383 w 10954706"/>
                <a:gd name="connsiteY17" fmla="*/ 10729290 h 11070708"/>
                <a:gd name="connsiteX18" fmla="*/ 6655710 w 10954706"/>
                <a:gd name="connsiteY18" fmla="*/ 10791196 h 11070708"/>
                <a:gd name="connsiteX19" fmla="*/ 5209433 w 10954706"/>
                <a:gd name="connsiteY19" fmla="*/ 10216285 h 11070708"/>
                <a:gd name="connsiteX20" fmla="*/ 4278172 w 10954706"/>
                <a:gd name="connsiteY20" fmla="*/ 9047920 h 11070708"/>
                <a:gd name="connsiteX21" fmla="*/ 0 w 10954706"/>
                <a:gd name="connsiteY21" fmla="*/ 0 h 11070708"/>
                <a:gd name="connsiteX22" fmla="*/ 29296 w 10954706"/>
                <a:gd name="connsiteY22" fmla="*/ 590651 h 11070708"/>
                <a:gd name="connsiteX23" fmla="*/ 4056269 w 10954706"/>
                <a:gd name="connsiteY23" fmla="*/ 9447119 h 11070708"/>
                <a:gd name="connsiteX24" fmla="*/ 5148356 w 10954706"/>
                <a:gd name="connsiteY24" fmla="*/ 10469331 h 11070708"/>
                <a:gd name="connsiteX25" fmla="*/ 6644613 w 10954706"/>
                <a:gd name="connsiteY25" fmla="*/ 11014461 h 11070708"/>
                <a:gd name="connsiteX26" fmla="*/ 8515178 w 10954706"/>
                <a:gd name="connsiteY26" fmla="*/ 10954661 h 11070708"/>
                <a:gd name="connsiteX27" fmla="*/ 10015263 w 10954706"/>
                <a:gd name="connsiteY27" fmla="*/ 10141763 h 11070708"/>
                <a:gd name="connsiteX28" fmla="*/ 10876067 w 10954706"/>
                <a:gd name="connsiteY28" fmla="*/ 8997049 h 11070708"/>
                <a:gd name="connsiteX29" fmla="*/ 10812885 w 10954706"/>
                <a:gd name="connsiteY29" fmla="*/ 7574973 h 11070708"/>
                <a:gd name="connsiteX30" fmla="*/ 10490087 w 10954706"/>
                <a:gd name="connsiteY30" fmla="*/ 7099460 h 11070708"/>
                <a:gd name="connsiteX31" fmla="*/ 9521221 w 10954706"/>
                <a:gd name="connsiteY31" fmla="*/ 6147842 h 11070708"/>
                <a:gd name="connsiteX32" fmla="*/ 4624687 w 10954706"/>
                <a:gd name="connsiteY32" fmla="*/ 1880899 h 11070708"/>
                <a:gd name="connsiteX33" fmla="*/ 3719572 w 10954706"/>
                <a:gd name="connsiteY33" fmla="*/ 1324587 h 11070708"/>
                <a:gd name="connsiteX34" fmla="*/ 3643373 w 10954706"/>
                <a:gd name="connsiteY34" fmla="*/ 1461763 h 11070708"/>
                <a:gd name="connsiteX0" fmla="*/ 3643373 w 10954706"/>
                <a:gd name="connsiteY0" fmla="*/ 1461763 h 11070708"/>
                <a:gd name="connsiteX1" fmla="*/ 4390729 w 10954706"/>
                <a:gd name="connsiteY1" fmla="*/ 2041573 h 11070708"/>
                <a:gd name="connsiteX2" fmla="*/ 4134030 w 10954706"/>
                <a:gd name="connsiteY2" fmla="*/ 2148262 h 11070708"/>
                <a:gd name="connsiteX3" fmla="*/ 5755428 w 10954706"/>
                <a:gd name="connsiteY3" fmla="*/ 3548546 h 11070708"/>
                <a:gd name="connsiteX4" fmla="*/ 6076725 w 10954706"/>
                <a:gd name="connsiteY4" fmla="*/ 3890160 h 11070708"/>
                <a:gd name="connsiteX5" fmla="*/ 3594109 w 10954706"/>
                <a:gd name="connsiteY5" fmla="*/ 4655430 h 11070708"/>
                <a:gd name="connsiteX6" fmla="*/ 3806285 w 10954706"/>
                <a:gd name="connsiteY6" fmla="*/ 4899329 h 11070708"/>
                <a:gd name="connsiteX7" fmla="*/ 4518988 w 10954706"/>
                <a:gd name="connsiteY7" fmla="*/ 4590004 h 11070708"/>
                <a:gd name="connsiteX8" fmla="*/ 4949900 w 10954706"/>
                <a:gd name="connsiteY8" fmla="*/ 5105127 h 11070708"/>
                <a:gd name="connsiteX9" fmla="*/ 6698217 w 10954706"/>
                <a:gd name="connsiteY9" fmla="*/ 4466933 h 11070708"/>
                <a:gd name="connsiteX10" fmla="*/ 7773200 w 10954706"/>
                <a:gd name="connsiteY10" fmla="*/ 5507812 h 11070708"/>
                <a:gd name="connsiteX11" fmla="*/ 8214195 w 10954706"/>
                <a:gd name="connsiteY11" fmla="*/ 5375115 h 11070708"/>
                <a:gd name="connsiteX12" fmla="*/ 9453715 w 10954706"/>
                <a:gd name="connsiteY12" fmla="*/ 6302170 h 11070708"/>
                <a:gd name="connsiteX13" fmla="*/ 10311837 w 10954706"/>
                <a:gd name="connsiteY13" fmla="*/ 7273056 h 11070708"/>
                <a:gd name="connsiteX14" fmla="*/ 10618557 w 10954706"/>
                <a:gd name="connsiteY14" fmla="*/ 7711084 h 11070708"/>
                <a:gd name="connsiteX15" fmla="*/ 10677334 w 10954706"/>
                <a:gd name="connsiteY15" fmla="*/ 8916268 h 11070708"/>
                <a:gd name="connsiteX16" fmla="*/ 9833571 w 10954706"/>
                <a:gd name="connsiteY16" fmla="*/ 9993815 h 11070708"/>
                <a:gd name="connsiteX17" fmla="*/ 8425383 w 10954706"/>
                <a:gd name="connsiteY17" fmla="*/ 10729290 h 11070708"/>
                <a:gd name="connsiteX18" fmla="*/ 6655710 w 10954706"/>
                <a:gd name="connsiteY18" fmla="*/ 10791196 h 11070708"/>
                <a:gd name="connsiteX19" fmla="*/ 5209433 w 10954706"/>
                <a:gd name="connsiteY19" fmla="*/ 10216285 h 11070708"/>
                <a:gd name="connsiteX20" fmla="*/ 4278172 w 10954706"/>
                <a:gd name="connsiteY20" fmla="*/ 9047920 h 11070708"/>
                <a:gd name="connsiteX21" fmla="*/ 0 w 10954706"/>
                <a:gd name="connsiteY21" fmla="*/ 0 h 11070708"/>
                <a:gd name="connsiteX22" fmla="*/ 29296 w 10954706"/>
                <a:gd name="connsiteY22" fmla="*/ 590651 h 11070708"/>
                <a:gd name="connsiteX23" fmla="*/ 4056269 w 10954706"/>
                <a:gd name="connsiteY23" fmla="*/ 9447119 h 11070708"/>
                <a:gd name="connsiteX24" fmla="*/ 5148356 w 10954706"/>
                <a:gd name="connsiteY24" fmla="*/ 10469331 h 11070708"/>
                <a:gd name="connsiteX25" fmla="*/ 6644613 w 10954706"/>
                <a:gd name="connsiteY25" fmla="*/ 11014461 h 11070708"/>
                <a:gd name="connsiteX26" fmla="*/ 8515178 w 10954706"/>
                <a:gd name="connsiteY26" fmla="*/ 10954661 h 11070708"/>
                <a:gd name="connsiteX27" fmla="*/ 10015263 w 10954706"/>
                <a:gd name="connsiteY27" fmla="*/ 10141763 h 11070708"/>
                <a:gd name="connsiteX28" fmla="*/ 10876067 w 10954706"/>
                <a:gd name="connsiteY28" fmla="*/ 8997049 h 11070708"/>
                <a:gd name="connsiteX29" fmla="*/ 10812885 w 10954706"/>
                <a:gd name="connsiteY29" fmla="*/ 7574973 h 11070708"/>
                <a:gd name="connsiteX30" fmla="*/ 10490087 w 10954706"/>
                <a:gd name="connsiteY30" fmla="*/ 7099460 h 11070708"/>
                <a:gd name="connsiteX31" fmla="*/ 9521221 w 10954706"/>
                <a:gd name="connsiteY31" fmla="*/ 6147842 h 11070708"/>
                <a:gd name="connsiteX32" fmla="*/ 4624687 w 10954706"/>
                <a:gd name="connsiteY32" fmla="*/ 1880899 h 11070708"/>
                <a:gd name="connsiteX33" fmla="*/ 4039132 w 10954706"/>
                <a:gd name="connsiteY33" fmla="*/ 855362 h 11070708"/>
                <a:gd name="connsiteX34" fmla="*/ 3643373 w 10954706"/>
                <a:gd name="connsiteY34" fmla="*/ 1461763 h 11070708"/>
                <a:gd name="connsiteX0" fmla="*/ 3643373 w 10954706"/>
                <a:gd name="connsiteY0" fmla="*/ 1461763 h 11070708"/>
                <a:gd name="connsiteX1" fmla="*/ 4390729 w 10954706"/>
                <a:gd name="connsiteY1" fmla="*/ 2041573 h 11070708"/>
                <a:gd name="connsiteX2" fmla="*/ 4134030 w 10954706"/>
                <a:gd name="connsiteY2" fmla="*/ 2148262 h 11070708"/>
                <a:gd name="connsiteX3" fmla="*/ 5755428 w 10954706"/>
                <a:gd name="connsiteY3" fmla="*/ 3548546 h 11070708"/>
                <a:gd name="connsiteX4" fmla="*/ 6076725 w 10954706"/>
                <a:gd name="connsiteY4" fmla="*/ 3890160 h 11070708"/>
                <a:gd name="connsiteX5" fmla="*/ 3594109 w 10954706"/>
                <a:gd name="connsiteY5" fmla="*/ 4655430 h 11070708"/>
                <a:gd name="connsiteX6" fmla="*/ 3806285 w 10954706"/>
                <a:gd name="connsiteY6" fmla="*/ 4899329 h 11070708"/>
                <a:gd name="connsiteX7" fmla="*/ 4518988 w 10954706"/>
                <a:gd name="connsiteY7" fmla="*/ 4590004 h 11070708"/>
                <a:gd name="connsiteX8" fmla="*/ 4949900 w 10954706"/>
                <a:gd name="connsiteY8" fmla="*/ 5105127 h 11070708"/>
                <a:gd name="connsiteX9" fmla="*/ 6698217 w 10954706"/>
                <a:gd name="connsiteY9" fmla="*/ 4466933 h 11070708"/>
                <a:gd name="connsiteX10" fmla="*/ 7773200 w 10954706"/>
                <a:gd name="connsiteY10" fmla="*/ 5507812 h 11070708"/>
                <a:gd name="connsiteX11" fmla="*/ 8214195 w 10954706"/>
                <a:gd name="connsiteY11" fmla="*/ 5375115 h 11070708"/>
                <a:gd name="connsiteX12" fmla="*/ 9453715 w 10954706"/>
                <a:gd name="connsiteY12" fmla="*/ 6302170 h 11070708"/>
                <a:gd name="connsiteX13" fmla="*/ 10311837 w 10954706"/>
                <a:gd name="connsiteY13" fmla="*/ 7273056 h 11070708"/>
                <a:gd name="connsiteX14" fmla="*/ 10618557 w 10954706"/>
                <a:gd name="connsiteY14" fmla="*/ 7711084 h 11070708"/>
                <a:gd name="connsiteX15" fmla="*/ 10677334 w 10954706"/>
                <a:gd name="connsiteY15" fmla="*/ 8916268 h 11070708"/>
                <a:gd name="connsiteX16" fmla="*/ 9833571 w 10954706"/>
                <a:gd name="connsiteY16" fmla="*/ 9993815 h 11070708"/>
                <a:gd name="connsiteX17" fmla="*/ 8425383 w 10954706"/>
                <a:gd name="connsiteY17" fmla="*/ 10729290 h 11070708"/>
                <a:gd name="connsiteX18" fmla="*/ 6655710 w 10954706"/>
                <a:gd name="connsiteY18" fmla="*/ 10791196 h 11070708"/>
                <a:gd name="connsiteX19" fmla="*/ 5209433 w 10954706"/>
                <a:gd name="connsiteY19" fmla="*/ 10216285 h 11070708"/>
                <a:gd name="connsiteX20" fmla="*/ 4278172 w 10954706"/>
                <a:gd name="connsiteY20" fmla="*/ 9047920 h 11070708"/>
                <a:gd name="connsiteX21" fmla="*/ 0 w 10954706"/>
                <a:gd name="connsiteY21" fmla="*/ 0 h 11070708"/>
                <a:gd name="connsiteX22" fmla="*/ 29296 w 10954706"/>
                <a:gd name="connsiteY22" fmla="*/ 590651 h 11070708"/>
                <a:gd name="connsiteX23" fmla="*/ 4056269 w 10954706"/>
                <a:gd name="connsiteY23" fmla="*/ 9447119 h 11070708"/>
                <a:gd name="connsiteX24" fmla="*/ 5148356 w 10954706"/>
                <a:gd name="connsiteY24" fmla="*/ 10469331 h 11070708"/>
                <a:gd name="connsiteX25" fmla="*/ 6644613 w 10954706"/>
                <a:gd name="connsiteY25" fmla="*/ 11014461 h 11070708"/>
                <a:gd name="connsiteX26" fmla="*/ 8515178 w 10954706"/>
                <a:gd name="connsiteY26" fmla="*/ 10954661 h 11070708"/>
                <a:gd name="connsiteX27" fmla="*/ 10015263 w 10954706"/>
                <a:gd name="connsiteY27" fmla="*/ 10141763 h 11070708"/>
                <a:gd name="connsiteX28" fmla="*/ 10876067 w 10954706"/>
                <a:gd name="connsiteY28" fmla="*/ 8997049 h 11070708"/>
                <a:gd name="connsiteX29" fmla="*/ 10812885 w 10954706"/>
                <a:gd name="connsiteY29" fmla="*/ 7574973 h 11070708"/>
                <a:gd name="connsiteX30" fmla="*/ 10490087 w 10954706"/>
                <a:gd name="connsiteY30" fmla="*/ 7099460 h 11070708"/>
                <a:gd name="connsiteX31" fmla="*/ 9521221 w 10954706"/>
                <a:gd name="connsiteY31" fmla="*/ 6147842 h 11070708"/>
                <a:gd name="connsiteX32" fmla="*/ 4958141 w 10954706"/>
                <a:gd name="connsiteY32" fmla="*/ 1548532 h 11070708"/>
                <a:gd name="connsiteX33" fmla="*/ 4039132 w 10954706"/>
                <a:gd name="connsiteY33" fmla="*/ 855362 h 11070708"/>
                <a:gd name="connsiteX34" fmla="*/ 3643373 w 10954706"/>
                <a:gd name="connsiteY34" fmla="*/ 1461763 h 11070708"/>
                <a:gd name="connsiteX0" fmla="*/ 3921251 w 10954706"/>
                <a:gd name="connsiteY0" fmla="*/ 953435 h 11070708"/>
                <a:gd name="connsiteX1" fmla="*/ 4390729 w 10954706"/>
                <a:gd name="connsiteY1" fmla="*/ 2041573 h 11070708"/>
                <a:gd name="connsiteX2" fmla="*/ 4134030 w 10954706"/>
                <a:gd name="connsiteY2" fmla="*/ 2148262 h 11070708"/>
                <a:gd name="connsiteX3" fmla="*/ 5755428 w 10954706"/>
                <a:gd name="connsiteY3" fmla="*/ 3548546 h 11070708"/>
                <a:gd name="connsiteX4" fmla="*/ 6076725 w 10954706"/>
                <a:gd name="connsiteY4" fmla="*/ 3890160 h 11070708"/>
                <a:gd name="connsiteX5" fmla="*/ 3594109 w 10954706"/>
                <a:gd name="connsiteY5" fmla="*/ 4655430 h 11070708"/>
                <a:gd name="connsiteX6" fmla="*/ 3806285 w 10954706"/>
                <a:gd name="connsiteY6" fmla="*/ 4899329 h 11070708"/>
                <a:gd name="connsiteX7" fmla="*/ 4518988 w 10954706"/>
                <a:gd name="connsiteY7" fmla="*/ 4590004 h 11070708"/>
                <a:gd name="connsiteX8" fmla="*/ 4949900 w 10954706"/>
                <a:gd name="connsiteY8" fmla="*/ 5105127 h 11070708"/>
                <a:gd name="connsiteX9" fmla="*/ 6698217 w 10954706"/>
                <a:gd name="connsiteY9" fmla="*/ 4466933 h 11070708"/>
                <a:gd name="connsiteX10" fmla="*/ 7773200 w 10954706"/>
                <a:gd name="connsiteY10" fmla="*/ 5507812 h 11070708"/>
                <a:gd name="connsiteX11" fmla="*/ 8214195 w 10954706"/>
                <a:gd name="connsiteY11" fmla="*/ 5375115 h 11070708"/>
                <a:gd name="connsiteX12" fmla="*/ 9453715 w 10954706"/>
                <a:gd name="connsiteY12" fmla="*/ 6302170 h 11070708"/>
                <a:gd name="connsiteX13" fmla="*/ 10311837 w 10954706"/>
                <a:gd name="connsiteY13" fmla="*/ 7273056 h 11070708"/>
                <a:gd name="connsiteX14" fmla="*/ 10618557 w 10954706"/>
                <a:gd name="connsiteY14" fmla="*/ 7711084 h 11070708"/>
                <a:gd name="connsiteX15" fmla="*/ 10677334 w 10954706"/>
                <a:gd name="connsiteY15" fmla="*/ 8916268 h 11070708"/>
                <a:gd name="connsiteX16" fmla="*/ 9833571 w 10954706"/>
                <a:gd name="connsiteY16" fmla="*/ 9993815 h 11070708"/>
                <a:gd name="connsiteX17" fmla="*/ 8425383 w 10954706"/>
                <a:gd name="connsiteY17" fmla="*/ 10729290 h 11070708"/>
                <a:gd name="connsiteX18" fmla="*/ 6655710 w 10954706"/>
                <a:gd name="connsiteY18" fmla="*/ 10791196 h 11070708"/>
                <a:gd name="connsiteX19" fmla="*/ 5209433 w 10954706"/>
                <a:gd name="connsiteY19" fmla="*/ 10216285 h 11070708"/>
                <a:gd name="connsiteX20" fmla="*/ 4278172 w 10954706"/>
                <a:gd name="connsiteY20" fmla="*/ 9047920 h 11070708"/>
                <a:gd name="connsiteX21" fmla="*/ 0 w 10954706"/>
                <a:gd name="connsiteY21" fmla="*/ 0 h 11070708"/>
                <a:gd name="connsiteX22" fmla="*/ 29296 w 10954706"/>
                <a:gd name="connsiteY22" fmla="*/ 590651 h 11070708"/>
                <a:gd name="connsiteX23" fmla="*/ 4056269 w 10954706"/>
                <a:gd name="connsiteY23" fmla="*/ 9447119 h 11070708"/>
                <a:gd name="connsiteX24" fmla="*/ 5148356 w 10954706"/>
                <a:gd name="connsiteY24" fmla="*/ 10469331 h 11070708"/>
                <a:gd name="connsiteX25" fmla="*/ 6644613 w 10954706"/>
                <a:gd name="connsiteY25" fmla="*/ 11014461 h 11070708"/>
                <a:gd name="connsiteX26" fmla="*/ 8515178 w 10954706"/>
                <a:gd name="connsiteY26" fmla="*/ 10954661 h 11070708"/>
                <a:gd name="connsiteX27" fmla="*/ 10015263 w 10954706"/>
                <a:gd name="connsiteY27" fmla="*/ 10141763 h 11070708"/>
                <a:gd name="connsiteX28" fmla="*/ 10876067 w 10954706"/>
                <a:gd name="connsiteY28" fmla="*/ 8997049 h 11070708"/>
                <a:gd name="connsiteX29" fmla="*/ 10812885 w 10954706"/>
                <a:gd name="connsiteY29" fmla="*/ 7574973 h 11070708"/>
                <a:gd name="connsiteX30" fmla="*/ 10490087 w 10954706"/>
                <a:gd name="connsiteY30" fmla="*/ 7099460 h 11070708"/>
                <a:gd name="connsiteX31" fmla="*/ 9521221 w 10954706"/>
                <a:gd name="connsiteY31" fmla="*/ 6147842 h 11070708"/>
                <a:gd name="connsiteX32" fmla="*/ 4958141 w 10954706"/>
                <a:gd name="connsiteY32" fmla="*/ 1548532 h 11070708"/>
                <a:gd name="connsiteX33" fmla="*/ 4039132 w 10954706"/>
                <a:gd name="connsiteY33" fmla="*/ 855362 h 11070708"/>
                <a:gd name="connsiteX34" fmla="*/ 3921251 w 10954706"/>
                <a:gd name="connsiteY34" fmla="*/ 953435 h 11070708"/>
                <a:gd name="connsiteX0" fmla="*/ 3921251 w 10954706"/>
                <a:gd name="connsiteY0" fmla="*/ 953435 h 11070708"/>
                <a:gd name="connsiteX1" fmla="*/ 4550508 w 10954706"/>
                <a:gd name="connsiteY1" fmla="*/ 1650552 h 11070708"/>
                <a:gd name="connsiteX2" fmla="*/ 4134030 w 10954706"/>
                <a:gd name="connsiteY2" fmla="*/ 2148262 h 11070708"/>
                <a:gd name="connsiteX3" fmla="*/ 5755428 w 10954706"/>
                <a:gd name="connsiteY3" fmla="*/ 3548546 h 11070708"/>
                <a:gd name="connsiteX4" fmla="*/ 6076725 w 10954706"/>
                <a:gd name="connsiteY4" fmla="*/ 3890160 h 11070708"/>
                <a:gd name="connsiteX5" fmla="*/ 3594109 w 10954706"/>
                <a:gd name="connsiteY5" fmla="*/ 4655430 h 11070708"/>
                <a:gd name="connsiteX6" fmla="*/ 3806285 w 10954706"/>
                <a:gd name="connsiteY6" fmla="*/ 4899329 h 11070708"/>
                <a:gd name="connsiteX7" fmla="*/ 4518988 w 10954706"/>
                <a:gd name="connsiteY7" fmla="*/ 4590004 h 11070708"/>
                <a:gd name="connsiteX8" fmla="*/ 4949900 w 10954706"/>
                <a:gd name="connsiteY8" fmla="*/ 5105127 h 11070708"/>
                <a:gd name="connsiteX9" fmla="*/ 6698217 w 10954706"/>
                <a:gd name="connsiteY9" fmla="*/ 4466933 h 11070708"/>
                <a:gd name="connsiteX10" fmla="*/ 7773200 w 10954706"/>
                <a:gd name="connsiteY10" fmla="*/ 5507812 h 11070708"/>
                <a:gd name="connsiteX11" fmla="*/ 8214195 w 10954706"/>
                <a:gd name="connsiteY11" fmla="*/ 5375115 h 11070708"/>
                <a:gd name="connsiteX12" fmla="*/ 9453715 w 10954706"/>
                <a:gd name="connsiteY12" fmla="*/ 6302170 h 11070708"/>
                <a:gd name="connsiteX13" fmla="*/ 10311837 w 10954706"/>
                <a:gd name="connsiteY13" fmla="*/ 7273056 h 11070708"/>
                <a:gd name="connsiteX14" fmla="*/ 10618557 w 10954706"/>
                <a:gd name="connsiteY14" fmla="*/ 7711084 h 11070708"/>
                <a:gd name="connsiteX15" fmla="*/ 10677334 w 10954706"/>
                <a:gd name="connsiteY15" fmla="*/ 8916268 h 11070708"/>
                <a:gd name="connsiteX16" fmla="*/ 9833571 w 10954706"/>
                <a:gd name="connsiteY16" fmla="*/ 9993815 h 11070708"/>
                <a:gd name="connsiteX17" fmla="*/ 8425383 w 10954706"/>
                <a:gd name="connsiteY17" fmla="*/ 10729290 h 11070708"/>
                <a:gd name="connsiteX18" fmla="*/ 6655710 w 10954706"/>
                <a:gd name="connsiteY18" fmla="*/ 10791196 h 11070708"/>
                <a:gd name="connsiteX19" fmla="*/ 5209433 w 10954706"/>
                <a:gd name="connsiteY19" fmla="*/ 10216285 h 11070708"/>
                <a:gd name="connsiteX20" fmla="*/ 4278172 w 10954706"/>
                <a:gd name="connsiteY20" fmla="*/ 9047920 h 11070708"/>
                <a:gd name="connsiteX21" fmla="*/ 0 w 10954706"/>
                <a:gd name="connsiteY21" fmla="*/ 0 h 11070708"/>
                <a:gd name="connsiteX22" fmla="*/ 29296 w 10954706"/>
                <a:gd name="connsiteY22" fmla="*/ 590651 h 11070708"/>
                <a:gd name="connsiteX23" fmla="*/ 4056269 w 10954706"/>
                <a:gd name="connsiteY23" fmla="*/ 9447119 h 11070708"/>
                <a:gd name="connsiteX24" fmla="*/ 5148356 w 10954706"/>
                <a:gd name="connsiteY24" fmla="*/ 10469331 h 11070708"/>
                <a:gd name="connsiteX25" fmla="*/ 6644613 w 10954706"/>
                <a:gd name="connsiteY25" fmla="*/ 11014461 h 11070708"/>
                <a:gd name="connsiteX26" fmla="*/ 8515178 w 10954706"/>
                <a:gd name="connsiteY26" fmla="*/ 10954661 h 11070708"/>
                <a:gd name="connsiteX27" fmla="*/ 10015263 w 10954706"/>
                <a:gd name="connsiteY27" fmla="*/ 10141763 h 11070708"/>
                <a:gd name="connsiteX28" fmla="*/ 10876067 w 10954706"/>
                <a:gd name="connsiteY28" fmla="*/ 8997049 h 11070708"/>
                <a:gd name="connsiteX29" fmla="*/ 10812885 w 10954706"/>
                <a:gd name="connsiteY29" fmla="*/ 7574973 h 11070708"/>
                <a:gd name="connsiteX30" fmla="*/ 10490087 w 10954706"/>
                <a:gd name="connsiteY30" fmla="*/ 7099460 h 11070708"/>
                <a:gd name="connsiteX31" fmla="*/ 9521221 w 10954706"/>
                <a:gd name="connsiteY31" fmla="*/ 6147842 h 11070708"/>
                <a:gd name="connsiteX32" fmla="*/ 4958141 w 10954706"/>
                <a:gd name="connsiteY32" fmla="*/ 1548532 h 11070708"/>
                <a:gd name="connsiteX33" fmla="*/ 4039132 w 10954706"/>
                <a:gd name="connsiteY33" fmla="*/ 855362 h 11070708"/>
                <a:gd name="connsiteX34" fmla="*/ 3921251 w 10954706"/>
                <a:gd name="connsiteY34" fmla="*/ 953435 h 11070708"/>
                <a:gd name="connsiteX0" fmla="*/ 3921251 w 10954706"/>
                <a:gd name="connsiteY0" fmla="*/ 953435 h 11070708"/>
                <a:gd name="connsiteX1" fmla="*/ 4550508 w 10954706"/>
                <a:gd name="connsiteY1" fmla="*/ 1650552 h 11070708"/>
                <a:gd name="connsiteX2" fmla="*/ 4377174 w 10954706"/>
                <a:gd name="connsiteY2" fmla="*/ 1727914 h 11070708"/>
                <a:gd name="connsiteX3" fmla="*/ 5755428 w 10954706"/>
                <a:gd name="connsiteY3" fmla="*/ 3548546 h 11070708"/>
                <a:gd name="connsiteX4" fmla="*/ 6076725 w 10954706"/>
                <a:gd name="connsiteY4" fmla="*/ 3890160 h 11070708"/>
                <a:gd name="connsiteX5" fmla="*/ 3594109 w 10954706"/>
                <a:gd name="connsiteY5" fmla="*/ 4655430 h 11070708"/>
                <a:gd name="connsiteX6" fmla="*/ 3806285 w 10954706"/>
                <a:gd name="connsiteY6" fmla="*/ 4899329 h 11070708"/>
                <a:gd name="connsiteX7" fmla="*/ 4518988 w 10954706"/>
                <a:gd name="connsiteY7" fmla="*/ 4590004 h 11070708"/>
                <a:gd name="connsiteX8" fmla="*/ 4949900 w 10954706"/>
                <a:gd name="connsiteY8" fmla="*/ 5105127 h 11070708"/>
                <a:gd name="connsiteX9" fmla="*/ 6698217 w 10954706"/>
                <a:gd name="connsiteY9" fmla="*/ 4466933 h 11070708"/>
                <a:gd name="connsiteX10" fmla="*/ 7773200 w 10954706"/>
                <a:gd name="connsiteY10" fmla="*/ 5507812 h 11070708"/>
                <a:gd name="connsiteX11" fmla="*/ 8214195 w 10954706"/>
                <a:gd name="connsiteY11" fmla="*/ 5375115 h 11070708"/>
                <a:gd name="connsiteX12" fmla="*/ 9453715 w 10954706"/>
                <a:gd name="connsiteY12" fmla="*/ 6302170 h 11070708"/>
                <a:gd name="connsiteX13" fmla="*/ 10311837 w 10954706"/>
                <a:gd name="connsiteY13" fmla="*/ 7273056 h 11070708"/>
                <a:gd name="connsiteX14" fmla="*/ 10618557 w 10954706"/>
                <a:gd name="connsiteY14" fmla="*/ 7711084 h 11070708"/>
                <a:gd name="connsiteX15" fmla="*/ 10677334 w 10954706"/>
                <a:gd name="connsiteY15" fmla="*/ 8916268 h 11070708"/>
                <a:gd name="connsiteX16" fmla="*/ 9833571 w 10954706"/>
                <a:gd name="connsiteY16" fmla="*/ 9993815 h 11070708"/>
                <a:gd name="connsiteX17" fmla="*/ 8425383 w 10954706"/>
                <a:gd name="connsiteY17" fmla="*/ 10729290 h 11070708"/>
                <a:gd name="connsiteX18" fmla="*/ 6655710 w 10954706"/>
                <a:gd name="connsiteY18" fmla="*/ 10791196 h 11070708"/>
                <a:gd name="connsiteX19" fmla="*/ 5209433 w 10954706"/>
                <a:gd name="connsiteY19" fmla="*/ 10216285 h 11070708"/>
                <a:gd name="connsiteX20" fmla="*/ 4278172 w 10954706"/>
                <a:gd name="connsiteY20" fmla="*/ 9047920 h 11070708"/>
                <a:gd name="connsiteX21" fmla="*/ 0 w 10954706"/>
                <a:gd name="connsiteY21" fmla="*/ 0 h 11070708"/>
                <a:gd name="connsiteX22" fmla="*/ 29296 w 10954706"/>
                <a:gd name="connsiteY22" fmla="*/ 590651 h 11070708"/>
                <a:gd name="connsiteX23" fmla="*/ 4056269 w 10954706"/>
                <a:gd name="connsiteY23" fmla="*/ 9447119 h 11070708"/>
                <a:gd name="connsiteX24" fmla="*/ 5148356 w 10954706"/>
                <a:gd name="connsiteY24" fmla="*/ 10469331 h 11070708"/>
                <a:gd name="connsiteX25" fmla="*/ 6644613 w 10954706"/>
                <a:gd name="connsiteY25" fmla="*/ 11014461 h 11070708"/>
                <a:gd name="connsiteX26" fmla="*/ 8515178 w 10954706"/>
                <a:gd name="connsiteY26" fmla="*/ 10954661 h 11070708"/>
                <a:gd name="connsiteX27" fmla="*/ 10015263 w 10954706"/>
                <a:gd name="connsiteY27" fmla="*/ 10141763 h 11070708"/>
                <a:gd name="connsiteX28" fmla="*/ 10876067 w 10954706"/>
                <a:gd name="connsiteY28" fmla="*/ 8997049 h 11070708"/>
                <a:gd name="connsiteX29" fmla="*/ 10812885 w 10954706"/>
                <a:gd name="connsiteY29" fmla="*/ 7574973 h 11070708"/>
                <a:gd name="connsiteX30" fmla="*/ 10490087 w 10954706"/>
                <a:gd name="connsiteY30" fmla="*/ 7099460 h 11070708"/>
                <a:gd name="connsiteX31" fmla="*/ 9521221 w 10954706"/>
                <a:gd name="connsiteY31" fmla="*/ 6147842 h 11070708"/>
                <a:gd name="connsiteX32" fmla="*/ 4958141 w 10954706"/>
                <a:gd name="connsiteY32" fmla="*/ 1548532 h 11070708"/>
                <a:gd name="connsiteX33" fmla="*/ 4039132 w 10954706"/>
                <a:gd name="connsiteY33" fmla="*/ 855362 h 11070708"/>
                <a:gd name="connsiteX34" fmla="*/ 3921251 w 10954706"/>
                <a:gd name="connsiteY34" fmla="*/ 953435 h 11070708"/>
                <a:gd name="connsiteX0" fmla="*/ 3921251 w 10954706"/>
                <a:gd name="connsiteY0" fmla="*/ 953435 h 11070708"/>
                <a:gd name="connsiteX1" fmla="*/ 4550508 w 10954706"/>
                <a:gd name="connsiteY1" fmla="*/ 1650552 h 11070708"/>
                <a:gd name="connsiteX2" fmla="*/ 4377174 w 10954706"/>
                <a:gd name="connsiteY2" fmla="*/ 1727914 h 11070708"/>
                <a:gd name="connsiteX3" fmla="*/ 5776268 w 10954706"/>
                <a:gd name="connsiteY3" fmla="*/ 3313931 h 11070708"/>
                <a:gd name="connsiteX4" fmla="*/ 6076725 w 10954706"/>
                <a:gd name="connsiteY4" fmla="*/ 3890160 h 11070708"/>
                <a:gd name="connsiteX5" fmla="*/ 3594109 w 10954706"/>
                <a:gd name="connsiteY5" fmla="*/ 4655430 h 11070708"/>
                <a:gd name="connsiteX6" fmla="*/ 3806285 w 10954706"/>
                <a:gd name="connsiteY6" fmla="*/ 4899329 h 11070708"/>
                <a:gd name="connsiteX7" fmla="*/ 4518988 w 10954706"/>
                <a:gd name="connsiteY7" fmla="*/ 4590004 h 11070708"/>
                <a:gd name="connsiteX8" fmla="*/ 4949900 w 10954706"/>
                <a:gd name="connsiteY8" fmla="*/ 5105127 h 11070708"/>
                <a:gd name="connsiteX9" fmla="*/ 6698217 w 10954706"/>
                <a:gd name="connsiteY9" fmla="*/ 4466933 h 11070708"/>
                <a:gd name="connsiteX10" fmla="*/ 7773200 w 10954706"/>
                <a:gd name="connsiteY10" fmla="*/ 5507812 h 11070708"/>
                <a:gd name="connsiteX11" fmla="*/ 8214195 w 10954706"/>
                <a:gd name="connsiteY11" fmla="*/ 5375115 h 11070708"/>
                <a:gd name="connsiteX12" fmla="*/ 9453715 w 10954706"/>
                <a:gd name="connsiteY12" fmla="*/ 6302170 h 11070708"/>
                <a:gd name="connsiteX13" fmla="*/ 10311837 w 10954706"/>
                <a:gd name="connsiteY13" fmla="*/ 7273056 h 11070708"/>
                <a:gd name="connsiteX14" fmla="*/ 10618557 w 10954706"/>
                <a:gd name="connsiteY14" fmla="*/ 7711084 h 11070708"/>
                <a:gd name="connsiteX15" fmla="*/ 10677334 w 10954706"/>
                <a:gd name="connsiteY15" fmla="*/ 8916268 h 11070708"/>
                <a:gd name="connsiteX16" fmla="*/ 9833571 w 10954706"/>
                <a:gd name="connsiteY16" fmla="*/ 9993815 h 11070708"/>
                <a:gd name="connsiteX17" fmla="*/ 8425383 w 10954706"/>
                <a:gd name="connsiteY17" fmla="*/ 10729290 h 11070708"/>
                <a:gd name="connsiteX18" fmla="*/ 6655710 w 10954706"/>
                <a:gd name="connsiteY18" fmla="*/ 10791196 h 11070708"/>
                <a:gd name="connsiteX19" fmla="*/ 5209433 w 10954706"/>
                <a:gd name="connsiteY19" fmla="*/ 10216285 h 11070708"/>
                <a:gd name="connsiteX20" fmla="*/ 4278172 w 10954706"/>
                <a:gd name="connsiteY20" fmla="*/ 9047920 h 11070708"/>
                <a:gd name="connsiteX21" fmla="*/ 0 w 10954706"/>
                <a:gd name="connsiteY21" fmla="*/ 0 h 11070708"/>
                <a:gd name="connsiteX22" fmla="*/ 29296 w 10954706"/>
                <a:gd name="connsiteY22" fmla="*/ 590651 h 11070708"/>
                <a:gd name="connsiteX23" fmla="*/ 4056269 w 10954706"/>
                <a:gd name="connsiteY23" fmla="*/ 9447119 h 11070708"/>
                <a:gd name="connsiteX24" fmla="*/ 5148356 w 10954706"/>
                <a:gd name="connsiteY24" fmla="*/ 10469331 h 11070708"/>
                <a:gd name="connsiteX25" fmla="*/ 6644613 w 10954706"/>
                <a:gd name="connsiteY25" fmla="*/ 11014461 h 11070708"/>
                <a:gd name="connsiteX26" fmla="*/ 8515178 w 10954706"/>
                <a:gd name="connsiteY26" fmla="*/ 10954661 h 11070708"/>
                <a:gd name="connsiteX27" fmla="*/ 10015263 w 10954706"/>
                <a:gd name="connsiteY27" fmla="*/ 10141763 h 11070708"/>
                <a:gd name="connsiteX28" fmla="*/ 10876067 w 10954706"/>
                <a:gd name="connsiteY28" fmla="*/ 8997049 h 11070708"/>
                <a:gd name="connsiteX29" fmla="*/ 10812885 w 10954706"/>
                <a:gd name="connsiteY29" fmla="*/ 7574973 h 11070708"/>
                <a:gd name="connsiteX30" fmla="*/ 10490087 w 10954706"/>
                <a:gd name="connsiteY30" fmla="*/ 7099460 h 11070708"/>
                <a:gd name="connsiteX31" fmla="*/ 9521221 w 10954706"/>
                <a:gd name="connsiteY31" fmla="*/ 6147842 h 11070708"/>
                <a:gd name="connsiteX32" fmla="*/ 4958141 w 10954706"/>
                <a:gd name="connsiteY32" fmla="*/ 1548532 h 11070708"/>
                <a:gd name="connsiteX33" fmla="*/ 4039132 w 10954706"/>
                <a:gd name="connsiteY33" fmla="*/ 855362 h 11070708"/>
                <a:gd name="connsiteX34" fmla="*/ 3921251 w 10954706"/>
                <a:gd name="connsiteY34" fmla="*/ 953435 h 11070708"/>
                <a:gd name="connsiteX0" fmla="*/ 3921251 w 10954706"/>
                <a:gd name="connsiteY0" fmla="*/ 953435 h 11070708"/>
                <a:gd name="connsiteX1" fmla="*/ 4550508 w 10954706"/>
                <a:gd name="connsiteY1" fmla="*/ 1650552 h 11070708"/>
                <a:gd name="connsiteX2" fmla="*/ 4377174 w 10954706"/>
                <a:gd name="connsiteY2" fmla="*/ 1727914 h 11070708"/>
                <a:gd name="connsiteX3" fmla="*/ 5776268 w 10954706"/>
                <a:gd name="connsiteY3" fmla="*/ 3313931 h 11070708"/>
                <a:gd name="connsiteX4" fmla="*/ 6048935 w 10954706"/>
                <a:gd name="connsiteY4" fmla="*/ 3635999 h 11070708"/>
                <a:gd name="connsiteX5" fmla="*/ 3594109 w 10954706"/>
                <a:gd name="connsiteY5" fmla="*/ 4655430 h 11070708"/>
                <a:gd name="connsiteX6" fmla="*/ 3806285 w 10954706"/>
                <a:gd name="connsiteY6" fmla="*/ 4899329 h 11070708"/>
                <a:gd name="connsiteX7" fmla="*/ 4518988 w 10954706"/>
                <a:gd name="connsiteY7" fmla="*/ 4590004 h 11070708"/>
                <a:gd name="connsiteX8" fmla="*/ 4949900 w 10954706"/>
                <a:gd name="connsiteY8" fmla="*/ 5105127 h 11070708"/>
                <a:gd name="connsiteX9" fmla="*/ 6698217 w 10954706"/>
                <a:gd name="connsiteY9" fmla="*/ 4466933 h 11070708"/>
                <a:gd name="connsiteX10" fmla="*/ 7773200 w 10954706"/>
                <a:gd name="connsiteY10" fmla="*/ 5507812 h 11070708"/>
                <a:gd name="connsiteX11" fmla="*/ 8214195 w 10954706"/>
                <a:gd name="connsiteY11" fmla="*/ 5375115 h 11070708"/>
                <a:gd name="connsiteX12" fmla="*/ 9453715 w 10954706"/>
                <a:gd name="connsiteY12" fmla="*/ 6302170 h 11070708"/>
                <a:gd name="connsiteX13" fmla="*/ 10311837 w 10954706"/>
                <a:gd name="connsiteY13" fmla="*/ 7273056 h 11070708"/>
                <a:gd name="connsiteX14" fmla="*/ 10618557 w 10954706"/>
                <a:gd name="connsiteY14" fmla="*/ 7711084 h 11070708"/>
                <a:gd name="connsiteX15" fmla="*/ 10677334 w 10954706"/>
                <a:gd name="connsiteY15" fmla="*/ 8916268 h 11070708"/>
                <a:gd name="connsiteX16" fmla="*/ 9833571 w 10954706"/>
                <a:gd name="connsiteY16" fmla="*/ 9993815 h 11070708"/>
                <a:gd name="connsiteX17" fmla="*/ 8425383 w 10954706"/>
                <a:gd name="connsiteY17" fmla="*/ 10729290 h 11070708"/>
                <a:gd name="connsiteX18" fmla="*/ 6655710 w 10954706"/>
                <a:gd name="connsiteY18" fmla="*/ 10791196 h 11070708"/>
                <a:gd name="connsiteX19" fmla="*/ 5209433 w 10954706"/>
                <a:gd name="connsiteY19" fmla="*/ 10216285 h 11070708"/>
                <a:gd name="connsiteX20" fmla="*/ 4278172 w 10954706"/>
                <a:gd name="connsiteY20" fmla="*/ 9047920 h 11070708"/>
                <a:gd name="connsiteX21" fmla="*/ 0 w 10954706"/>
                <a:gd name="connsiteY21" fmla="*/ 0 h 11070708"/>
                <a:gd name="connsiteX22" fmla="*/ 29296 w 10954706"/>
                <a:gd name="connsiteY22" fmla="*/ 590651 h 11070708"/>
                <a:gd name="connsiteX23" fmla="*/ 4056269 w 10954706"/>
                <a:gd name="connsiteY23" fmla="*/ 9447119 h 11070708"/>
                <a:gd name="connsiteX24" fmla="*/ 5148356 w 10954706"/>
                <a:gd name="connsiteY24" fmla="*/ 10469331 h 11070708"/>
                <a:gd name="connsiteX25" fmla="*/ 6644613 w 10954706"/>
                <a:gd name="connsiteY25" fmla="*/ 11014461 h 11070708"/>
                <a:gd name="connsiteX26" fmla="*/ 8515178 w 10954706"/>
                <a:gd name="connsiteY26" fmla="*/ 10954661 h 11070708"/>
                <a:gd name="connsiteX27" fmla="*/ 10015263 w 10954706"/>
                <a:gd name="connsiteY27" fmla="*/ 10141763 h 11070708"/>
                <a:gd name="connsiteX28" fmla="*/ 10876067 w 10954706"/>
                <a:gd name="connsiteY28" fmla="*/ 8997049 h 11070708"/>
                <a:gd name="connsiteX29" fmla="*/ 10812885 w 10954706"/>
                <a:gd name="connsiteY29" fmla="*/ 7574973 h 11070708"/>
                <a:gd name="connsiteX30" fmla="*/ 10490087 w 10954706"/>
                <a:gd name="connsiteY30" fmla="*/ 7099460 h 11070708"/>
                <a:gd name="connsiteX31" fmla="*/ 9521221 w 10954706"/>
                <a:gd name="connsiteY31" fmla="*/ 6147842 h 11070708"/>
                <a:gd name="connsiteX32" fmla="*/ 4958141 w 10954706"/>
                <a:gd name="connsiteY32" fmla="*/ 1548532 h 11070708"/>
                <a:gd name="connsiteX33" fmla="*/ 4039132 w 10954706"/>
                <a:gd name="connsiteY33" fmla="*/ 855362 h 11070708"/>
                <a:gd name="connsiteX34" fmla="*/ 3921251 w 10954706"/>
                <a:gd name="connsiteY34" fmla="*/ 953435 h 11070708"/>
                <a:gd name="connsiteX0" fmla="*/ 3921251 w 10954706"/>
                <a:gd name="connsiteY0" fmla="*/ 953435 h 11070708"/>
                <a:gd name="connsiteX1" fmla="*/ 4550508 w 10954706"/>
                <a:gd name="connsiteY1" fmla="*/ 1650552 h 11070708"/>
                <a:gd name="connsiteX2" fmla="*/ 4377174 w 10954706"/>
                <a:gd name="connsiteY2" fmla="*/ 1727914 h 11070708"/>
                <a:gd name="connsiteX3" fmla="*/ 5776268 w 10954706"/>
                <a:gd name="connsiteY3" fmla="*/ 3313931 h 11070708"/>
                <a:gd name="connsiteX4" fmla="*/ 6048935 w 10954706"/>
                <a:gd name="connsiteY4" fmla="*/ 3635999 h 11070708"/>
                <a:gd name="connsiteX5" fmla="*/ 3976192 w 10954706"/>
                <a:gd name="connsiteY5" fmla="*/ 4479470 h 11070708"/>
                <a:gd name="connsiteX6" fmla="*/ 3806285 w 10954706"/>
                <a:gd name="connsiteY6" fmla="*/ 4899329 h 11070708"/>
                <a:gd name="connsiteX7" fmla="*/ 4518988 w 10954706"/>
                <a:gd name="connsiteY7" fmla="*/ 4590004 h 11070708"/>
                <a:gd name="connsiteX8" fmla="*/ 4949900 w 10954706"/>
                <a:gd name="connsiteY8" fmla="*/ 5105127 h 11070708"/>
                <a:gd name="connsiteX9" fmla="*/ 6698217 w 10954706"/>
                <a:gd name="connsiteY9" fmla="*/ 4466933 h 11070708"/>
                <a:gd name="connsiteX10" fmla="*/ 7773200 w 10954706"/>
                <a:gd name="connsiteY10" fmla="*/ 5507812 h 11070708"/>
                <a:gd name="connsiteX11" fmla="*/ 8214195 w 10954706"/>
                <a:gd name="connsiteY11" fmla="*/ 5375115 h 11070708"/>
                <a:gd name="connsiteX12" fmla="*/ 9453715 w 10954706"/>
                <a:gd name="connsiteY12" fmla="*/ 6302170 h 11070708"/>
                <a:gd name="connsiteX13" fmla="*/ 10311837 w 10954706"/>
                <a:gd name="connsiteY13" fmla="*/ 7273056 h 11070708"/>
                <a:gd name="connsiteX14" fmla="*/ 10618557 w 10954706"/>
                <a:gd name="connsiteY14" fmla="*/ 7711084 h 11070708"/>
                <a:gd name="connsiteX15" fmla="*/ 10677334 w 10954706"/>
                <a:gd name="connsiteY15" fmla="*/ 8916268 h 11070708"/>
                <a:gd name="connsiteX16" fmla="*/ 9833571 w 10954706"/>
                <a:gd name="connsiteY16" fmla="*/ 9993815 h 11070708"/>
                <a:gd name="connsiteX17" fmla="*/ 8425383 w 10954706"/>
                <a:gd name="connsiteY17" fmla="*/ 10729290 h 11070708"/>
                <a:gd name="connsiteX18" fmla="*/ 6655710 w 10954706"/>
                <a:gd name="connsiteY18" fmla="*/ 10791196 h 11070708"/>
                <a:gd name="connsiteX19" fmla="*/ 5209433 w 10954706"/>
                <a:gd name="connsiteY19" fmla="*/ 10216285 h 11070708"/>
                <a:gd name="connsiteX20" fmla="*/ 4278172 w 10954706"/>
                <a:gd name="connsiteY20" fmla="*/ 9047920 h 11070708"/>
                <a:gd name="connsiteX21" fmla="*/ 0 w 10954706"/>
                <a:gd name="connsiteY21" fmla="*/ 0 h 11070708"/>
                <a:gd name="connsiteX22" fmla="*/ 29296 w 10954706"/>
                <a:gd name="connsiteY22" fmla="*/ 590651 h 11070708"/>
                <a:gd name="connsiteX23" fmla="*/ 4056269 w 10954706"/>
                <a:gd name="connsiteY23" fmla="*/ 9447119 h 11070708"/>
                <a:gd name="connsiteX24" fmla="*/ 5148356 w 10954706"/>
                <a:gd name="connsiteY24" fmla="*/ 10469331 h 11070708"/>
                <a:gd name="connsiteX25" fmla="*/ 6644613 w 10954706"/>
                <a:gd name="connsiteY25" fmla="*/ 11014461 h 11070708"/>
                <a:gd name="connsiteX26" fmla="*/ 8515178 w 10954706"/>
                <a:gd name="connsiteY26" fmla="*/ 10954661 h 11070708"/>
                <a:gd name="connsiteX27" fmla="*/ 10015263 w 10954706"/>
                <a:gd name="connsiteY27" fmla="*/ 10141763 h 11070708"/>
                <a:gd name="connsiteX28" fmla="*/ 10876067 w 10954706"/>
                <a:gd name="connsiteY28" fmla="*/ 8997049 h 11070708"/>
                <a:gd name="connsiteX29" fmla="*/ 10812885 w 10954706"/>
                <a:gd name="connsiteY29" fmla="*/ 7574973 h 11070708"/>
                <a:gd name="connsiteX30" fmla="*/ 10490087 w 10954706"/>
                <a:gd name="connsiteY30" fmla="*/ 7099460 h 11070708"/>
                <a:gd name="connsiteX31" fmla="*/ 9521221 w 10954706"/>
                <a:gd name="connsiteY31" fmla="*/ 6147842 h 11070708"/>
                <a:gd name="connsiteX32" fmla="*/ 4958141 w 10954706"/>
                <a:gd name="connsiteY32" fmla="*/ 1548532 h 11070708"/>
                <a:gd name="connsiteX33" fmla="*/ 4039132 w 10954706"/>
                <a:gd name="connsiteY33" fmla="*/ 855362 h 11070708"/>
                <a:gd name="connsiteX34" fmla="*/ 3921251 w 10954706"/>
                <a:gd name="connsiteY34" fmla="*/ 953435 h 11070708"/>
                <a:gd name="connsiteX0" fmla="*/ 3921251 w 10954706"/>
                <a:gd name="connsiteY0" fmla="*/ 953435 h 11070708"/>
                <a:gd name="connsiteX1" fmla="*/ 4550508 w 10954706"/>
                <a:gd name="connsiteY1" fmla="*/ 1650552 h 11070708"/>
                <a:gd name="connsiteX2" fmla="*/ 4377174 w 10954706"/>
                <a:gd name="connsiteY2" fmla="*/ 1727914 h 11070708"/>
                <a:gd name="connsiteX3" fmla="*/ 5776268 w 10954706"/>
                <a:gd name="connsiteY3" fmla="*/ 3313931 h 11070708"/>
                <a:gd name="connsiteX4" fmla="*/ 6048935 w 10954706"/>
                <a:gd name="connsiteY4" fmla="*/ 3635999 h 11070708"/>
                <a:gd name="connsiteX5" fmla="*/ 3976192 w 10954706"/>
                <a:gd name="connsiteY5" fmla="*/ 4479470 h 11070708"/>
                <a:gd name="connsiteX6" fmla="*/ 3806285 w 10954706"/>
                <a:gd name="connsiteY6" fmla="*/ 4899329 h 11070708"/>
                <a:gd name="connsiteX7" fmla="*/ 4769078 w 10954706"/>
                <a:gd name="connsiteY7" fmla="*/ 4472697 h 11070708"/>
                <a:gd name="connsiteX8" fmla="*/ 4949900 w 10954706"/>
                <a:gd name="connsiteY8" fmla="*/ 5105127 h 11070708"/>
                <a:gd name="connsiteX9" fmla="*/ 6698217 w 10954706"/>
                <a:gd name="connsiteY9" fmla="*/ 4466933 h 11070708"/>
                <a:gd name="connsiteX10" fmla="*/ 7773200 w 10954706"/>
                <a:gd name="connsiteY10" fmla="*/ 5507812 h 11070708"/>
                <a:gd name="connsiteX11" fmla="*/ 8214195 w 10954706"/>
                <a:gd name="connsiteY11" fmla="*/ 5375115 h 11070708"/>
                <a:gd name="connsiteX12" fmla="*/ 9453715 w 10954706"/>
                <a:gd name="connsiteY12" fmla="*/ 6302170 h 11070708"/>
                <a:gd name="connsiteX13" fmla="*/ 10311837 w 10954706"/>
                <a:gd name="connsiteY13" fmla="*/ 7273056 h 11070708"/>
                <a:gd name="connsiteX14" fmla="*/ 10618557 w 10954706"/>
                <a:gd name="connsiteY14" fmla="*/ 7711084 h 11070708"/>
                <a:gd name="connsiteX15" fmla="*/ 10677334 w 10954706"/>
                <a:gd name="connsiteY15" fmla="*/ 8916268 h 11070708"/>
                <a:gd name="connsiteX16" fmla="*/ 9833571 w 10954706"/>
                <a:gd name="connsiteY16" fmla="*/ 9993815 h 11070708"/>
                <a:gd name="connsiteX17" fmla="*/ 8425383 w 10954706"/>
                <a:gd name="connsiteY17" fmla="*/ 10729290 h 11070708"/>
                <a:gd name="connsiteX18" fmla="*/ 6655710 w 10954706"/>
                <a:gd name="connsiteY18" fmla="*/ 10791196 h 11070708"/>
                <a:gd name="connsiteX19" fmla="*/ 5209433 w 10954706"/>
                <a:gd name="connsiteY19" fmla="*/ 10216285 h 11070708"/>
                <a:gd name="connsiteX20" fmla="*/ 4278172 w 10954706"/>
                <a:gd name="connsiteY20" fmla="*/ 9047920 h 11070708"/>
                <a:gd name="connsiteX21" fmla="*/ 0 w 10954706"/>
                <a:gd name="connsiteY21" fmla="*/ 0 h 11070708"/>
                <a:gd name="connsiteX22" fmla="*/ 29296 w 10954706"/>
                <a:gd name="connsiteY22" fmla="*/ 590651 h 11070708"/>
                <a:gd name="connsiteX23" fmla="*/ 4056269 w 10954706"/>
                <a:gd name="connsiteY23" fmla="*/ 9447119 h 11070708"/>
                <a:gd name="connsiteX24" fmla="*/ 5148356 w 10954706"/>
                <a:gd name="connsiteY24" fmla="*/ 10469331 h 11070708"/>
                <a:gd name="connsiteX25" fmla="*/ 6644613 w 10954706"/>
                <a:gd name="connsiteY25" fmla="*/ 11014461 h 11070708"/>
                <a:gd name="connsiteX26" fmla="*/ 8515178 w 10954706"/>
                <a:gd name="connsiteY26" fmla="*/ 10954661 h 11070708"/>
                <a:gd name="connsiteX27" fmla="*/ 10015263 w 10954706"/>
                <a:gd name="connsiteY27" fmla="*/ 10141763 h 11070708"/>
                <a:gd name="connsiteX28" fmla="*/ 10876067 w 10954706"/>
                <a:gd name="connsiteY28" fmla="*/ 8997049 h 11070708"/>
                <a:gd name="connsiteX29" fmla="*/ 10812885 w 10954706"/>
                <a:gd name="connsiteY29" fmla="*/ 7574973 h 11070708"/>
                <a:gd name="connsiteX30" fmla="*/ 10490087 w 10954706"/>
                <a:gd name="connsiteY30" fmla="*/ 7099460 h 11070708"/>
                <a:gd name="connsiteX31" fmla="*/ 9521221 w 10954706"/>
                <a:gd name="connsiteY31" fmla="*/ 6147842 h 11070708"/>
                <a:gd name="connsiteX32" fmla="*/ 4958141 w 10954706"/>
                <a:gd name="connsiteY32" fmla="*/ 1548532 h 11070708"/>
                <a:gd name="connsiteX33" fmla="*/ 4039132 w 10954706"/>
                <a:gd name="connsiteY33" fmla="*/ 855362 h 11070708"/>
                <a:gd name="connsiteX34" fmla="*/ 3921251 w 10954706"/>
                <a:gd name="connsiteY34" fmla="*/ 953435 h 11070708"/>
                <a:gd name="connsiteX0" fmla="*/ 3921251 w 10954706"/>
                <a:gd name="connsiteY0" fmla="*/ 953435 h 11070708"/>
                <a:gd name="connsiteX1" fmla="*/ 4550508 w 10954706"/>
                <a:gd name="connsiteY1" fmla="*/ 1650552 h 11070708"/>
                <a:gd name="connsiteX2" fmla="*/ 4377174 w 10954706"/>
                <a:gd name="connsiteY2" fmla="*/ 1727914 h 11070708"/>
                <a:gd name="connsiteX3" fmla="*/ 5776268 w 10954706"/>
                <a:gd name="connsiteY3" fmla="*/ 3313931 h 11070708"/>
                <a:gd name="connsiteX4" fmla="*/ 6048935 w 10954706"/>
                <a:gd name="connsiteY4" fmla="*/ 3635999 h 11070708"/>
                <a:gd name="connsiteX5" fmla="*/ 3976192 w 10954706"/>
                <a:gd name="connsiteY5" fmla="*/ 4479470 h 11070708"/>
                <a:gd name="connsiteX6" fmla="*/ 4091110 w 10954706"/>
                <a:gd name="connsiteY6" fmla="*/ 4752697 h 11070708"/>
                <a:gd name="connsiteX7" fmla="*/ 4769078 w 10954706"/>
                <a:gd name="connsiteY7" fmla="*/ 4472697 h 11070708"/>
                <a:gd name="connsiteX8" fmla="*/ 4949900 w 10954706"/>
                <a:gd name="connsiteY8" fmla="*/ 5105127 h 11070708"/>
                <a:gd name="connsiteX9" fmla="*/ 6698217 w 10954706"/>
                <a:gd name="connsiteY9" fmla="*/ 4466933 h 11070708"/>
                <a:gd name="connsiteX10" fmla="*/ 7773200 w 10954706"/>
                <a:gd name="connsiteY10" fmla="*/ 5507812 h 11070708"/>
                <a:gd name="connsiteX11" fmla="*/ 8214195 w 10954706"/>
                <a:gd name="connsiteY11" fmla="*/ 5375115 h 11070708"/>
                <a:gd name="connsiteX12" fmla="*/ 9453715 w 10954706"/>
                <a:gd name="connsiteY12" fmla="*/ 6302170 h 11070708"/>
                <a:gd name="connsiteX13" fmla="*/ 10311837 w 10954706"/>
                <a:gd name="connsiteY13" fmla="*/ 7273056 h 11070708"/>
                <a:gd name="connsiteX14" fmla="*/ 10618557 w 10954706"/>
                <a:gd name="connsiteY14" fmla="*/ 7711084 h 11070708"/>
                <a:gd name="connsiteX15" fmla="*/ 10677334 w 10954706"/>
                <a:gd name="connsiteY15" fmla="*/ 8916268 h 11070708"/>
                <a:gd name="connsiteX16" fmla="*/ 9833571 w 10954706"/>
                <a:gd name="connsiteY16" fmla="*/ 9993815 h 11070708"/>
                <a:gd name="connsiteX17" fmla="*/ 8425383 w 10954706"/>
                <a:gd name="connsiteY17" fmla="*/ 10729290 h 11070708"/>
                <a:gd name="connsiteX18" fmla="*/ 6655710 w 10954706"/>
                <a:gd name="connsiteY18" fmla="*/ 10791196 h 11070708"/>
                <a:gd name="connsiteX19" fmla="*/ 5209433 w 10954706"/>
                <a:gd name="connsiteY19" fmla="*/ 10216285 h 11070708"/>
                <a:gd name="connsiteX20" fmla="*/ 4278172 w 10954706"/>
                <a:gd name="connsiteY20" fmla="*/ 9047920 h 11070708"/>
                <a:gd name="connsiteX21" fmla="*/ 0 w 10954706"/>
                <a:gd name="connsiteY21" fmla="*/ 0 h 11070708"/>
                <a:gd name="connsiteX22" fmla="*/ 29296 w 10954706"/>
                <a:gd name="connsiteY22" fmla="*/ 590651 h 11070708"/>
                <a:gd name="connsiteX23" fmla="*/ 4056269 w 10954706"/>
                <a:gd name="connsiteY23" fmla="*/ 9447119 h 11070708"/>
                <a:gd name="connsiteX24" fmla="*/ 5148356 w 10954706"/>
                <a:gd name="connsiteY24" fmla="*/ 10469331 h 11070708"/>
                <a:gd name="connsiteX25" fmla="*/ 6644613 w 10954706"/>
                <a:gd name="connsiteY25" fmla="*/ 11014461 h 11070708"/>
                <a:gd name="connsiteX26" fmla="*/ 8515178 w 10954706"/>
                <a:gd name="connsiteY26" fmla="*/ 10954661 h 11070708"/>
                <a:gd name="connsiteX27" fmla="*/ 10015263 w 10954706"/>
                <a:gd name="connsiteY27" fmla="*/ 10141763 h 11070708"/>
                <a:gd name="connsiteX28" fmla="*/ 10876067 w 10954706"/>
                <a:gd name="connsiteY28" fmla="*/ 8997049 h 11070708"/>
                <a:gd name="connsiteX29" fmla="*/ 10812885 w 10954706"/>
                <a:gd name="connsiteY29" fmla="*/ 7574973 h 11070708"/>
                <a:gd name="connsiteX30" fmla="*/ 10490087 w 10954706"/>
                <a:gd name="connsiteY30" fmla="*/ 7099460 h 11070708"/>
                <a:gd name="connsiteX31" fmla="*/ 9521221 w 10954706"/>
                <a:gd name="connsiteY31" fmla="*/ 6147842 h 11070708"/>
                <a:gd name="connsiteX32" fmla="*/ 4958141 w 10954706"/>
                <a:gd name="connsiteY32" fmla="*/ 1548532 h 11070708"/>
                <a:gd name="connsiteX33" fmla="*/ 4039132 w 10954706"/>
                <a:gd name="connsiteY33" fmla="*/ 855362 h 11070708"/>
                <a:gd name="connsiteX34" fmla="*/ 3921251 w 10954706"/>
                <a:gd name="connsiteY34" fmla="*/ 953435 h 11070708"/>
                <a:gd name="connsiteX0" fmla="*/ 3921251 w 10954706"/>
                <a:gd name="connsiteY0" fmla="*/ 953435 h 11070708"/>
                <a:gd name="connsiteX1" fmla="*/ 4550508 w 10954706"/>
                <a:gd name="connsiteY1" fmla="*/ 1650552 h 11070708"/>
                <a:gd name="connsiteX2" fmla="*/ 4377174 w 10954706"/>
                <a:gd name="connsiteY2" fmla="*/ 1727914 h 11070708"/>
                <a:gd name="connsiteX3" fmla="*/ 5776268 w 10954706"/>
                <a:gd name="connsiteY3" fmla="*/ 3313931 h 11070708"/>
                <a:gd name="connsiteX4" fmla="*/ 6048935 w 10954706"/>
                <a:gd name="connsiteY4" fmla="*/ 3635999 h 11070708"/>
                <a:gd name="connsiteX5" fmla="*/ 3976192 w 10954706"/>
                <a:gd name="connsiteY5" fmla="*/ 4479470 h 11070708"/>
                <a:gd name="connsiteX6" fmla="*/ 4091110 w 10954706"/>
                <a:gd name="connsiteY6" fmla="*/ 4752697 h 11070708"/>
                <a:gd name="connsiteX7" fmla="*/ 4769078 w 10954706"/>
                <a:gd name="connsiteY7" fmla="*/ 4472697 h 11070708"/>
                <a:gd name="connsiteX8" fmla="*/ 5088839 w 10954706"/>
                <a:gd name="connsiteY8" fmla="*/ 4987820 h 11070708"/>
                <a:gd name="connsiteX9" fmla="*/ 6698217 w 10954706"/>
                <a:gd name="connsiteY9" fmla="*/ 4466933 h 11070708"/>
                <a:gd name="connsiteX10" fmla="*/ 7773200 w 10954706"/>
                <a:gd name="connsiteY10" fmla="*/ 5507812 h 11070708"/>
                <a:gd name="connsiteX11" fmla="*/ 8214195 w 10954706"/>
                <a:gd name="connsiteY11" fmla="*/ 5375115 h 11070708"/>
                <a:gd name="connsiteX12" fmla="*/ 9453715 w 10954706"/>
                <a:gd name="connsiteY12" fmla="*/ 6302170 h 11070708"/>
                <a:gd name="connsiteX13" fmla="*/ 10311837 w 10954706"/>
                <a:gd name="connsiteY13" fmla="*/ 7273056 h 11070708"/>
                <a:gd name="connsiteX14" fmla="*/ 10618557 w 10954706"/>
                <a:gd name="connsiteY14" fmla="*/ 7711084 h 11070708"/>
                <a:gd name="connsiteX15" fmla="*/ 10677334 w 10954706"/>
                <a:gd name="connsiteY15" fmla="*/ 8916268 h 11070708"/>
                <a:gd name="connsiteX16" fmla="*/ 9833571 w 10954706"/>
                <a:gd name="connsiteY16" fmla="*/ 9993815 h 11070708"/>
                <a:gd name="connsiteX17" fmla="*/ 8425383 w 10954706"/>
                <a:gd name="connsiteY17" fmla="*/ 10729290 h 11070708"/>
                <a:gd name="connsiteX18" fmla="*/ 6655710 w 10954706"/>
                <a:gd name="connsiteY18" fmla="*/ 10791196 h 11070708"/>
                <a:gd name="connsiteX19" fmla="*/ 5209433 w 10954706"/>
                <a:gd name="connsiteY19" fmla="*/ 10216285 h 11070708"/>
                <a:gd name="connsiteX20" fmla="*/ 4278172 w 10954706"/>
                <a:gd name="connsiteY20" fmla="*/ 9047920 h 11070708"/>
                <a:gd name="connsiteX21" fmla="*/ 0 w 10954706"/>
                <a:gd name="connsiteY21" fmla="*/ 0 h 11070708"/>
                <a:gd name="connsiteX22" fmla="*/ 29296 w 10954706"/>
                <a:gd name="connsiteY22" fmla="*/ 590651 h 11070708"/>
                <a:gd name="connsiteX23" fmla="*/ 4056269 w 10954706"/>
                <a:gd name="connsiteY23" fmla="*/ 9447119 h 11070708"/>
                <a:gd name="connsiteX24" fmla="*/ 5148356 w 10954706"/>
                <a:gd name="connsiteY24" fmla="*/ 10469331 h 11070708"/>
                <a:gd name="connsiteX25" fmla="*/ 6644613 w 10954706"/>
                <a:gd name="connsiteY25" fmla="*/ 11014461 h 11070708"/>
                <a:gd name="connsiteX26" fmla="*/ 8515178 w 10954706"/>
                <a:gd name="connsiteY26" fmla="*/ 10954661 h 11070708"/>
                <a:gd name="connsiteX27" fmla="*/ 10015263 w 10954706"/>
                <a:gd name="connsiteY27" fmla="*/ 10141763 h 11070708"/>
                <a:gd name="connsiteX28" fmla="*/ 10876067 w 10954706"/>
                <a:gd name="connsiteY28" fmla="*/ 8997049 h 11070708"/>
                <a:gd name="connsiteX29" fmla="*/ 10812885 w 10954706"/>
                <a:gd name="connsiteY29" fmla="*/ 7574973 h 11070708"/>
                <a:gd name="connsiteX30" fmla="*/ 10490087 w 10954706"/>
                <a:gd name="connsiteY30" fmla="*/ 7099460 h 11070708"/>
                <a:gd name="connsiteX31" fmla="*/ 9521221 w 10954706"/>
                <a:gd name="connsiteY31" fmla="*/ 6147842 h 11070708"/>
                <a:gd name="connsiteX32" fmla="*/ 4958141 w 10954706"/>
                <a:gd name="connsiteY32" fmla="*/ 1548532 h 11070708"/>
                <a:gd name="connsiteX33" fmla="*/ 4039132 w 10954706"/>
                <a:gd name="connsiteY33" fmla="*/ 855362 h 11070708"/>
                <a:gd name="connsiteX34" fmla="*/ 3921251 w 10954706"/>
                <a:gd name="connsiteY34" fmla="*/ 953435 h 11070708"/>
                <a:gd name="connsiteX0" fmla="*/ 3921251 w 10954706"/>
                <a:gd name="connsiteY0" fmla="*/ 953435 h 11070708"/>
                <a:gd name="connsiteX1" fmla="*/ 4550508 w 10954706"/>
                <a:gd name="connsiteY1" fmla="*/ 1650552 h 11070708"/>
                <a:gd name="connsiteX2" fmla="*/ 4377174 w 10954706"/>
                <a:gd name="connsiteY2" fmla="*/ 1727914 h 11070708"/>
                <a:gd name="connsiteX3" fmla="*/ 5776268 w 10954706"/>
                <a:gd name="connsiteY3" fmla="*/ 3313931 h 11070708"/>
                <a:gd name="connsiteX4" fmla="*/ 6048935 w 10954706"/>
                <a:gd name="connsiteY4" fmla="*/ 3635999 h 11070708"/>
                <a:gd name="connsiteX5" fmla="*/ 3976192 w 10954706"/>
                <a:gd name="connsiteY5" fmla="*/ 4479470 h 11070708"/>
                <a:gd name="connsiteX6" fmla="*/ 4091110 w 10954706"/>
                <a:gd name="connsiteY6" fmla="*/ 4752697 h 11070708"/>
                <a:gd name="connsiteX7" fmla="*/ 4769078 w 10954706"/>
                <a:gd name="connsiteY7" fmla="*/ 4472697 h 11070708"/>
                <a:gd name="connsiteX8" fmla="*/ 5088839 w 10954706"/>
                <a:gd name="connsiteY8" fmla="*/ 4987820 h 11070708"/>
                <a:gd name="connsiteX9" fmla="*/ 6719057 w 10954706"/>
                <a:gd name="connsiteY9" fmla="*/ 4290975 h 11070708"/>
                <a:gd name="connsiteX10" fmla="*/ 7773200 w 10954706"/>
                <a:gd name="connsiteY10" fmla="*/ 5507812 h 11070708"/>
                <a:gd name="connsiteX11" fmla="*/ 8214195 w 10954706"/>
                <a:gd name="connsiteY11" fmla="*/ 5375115 h 11070708"/>
                <a:gd name="connsiteX12" fmla="*/ 9453715 w 10954706"/>
                <a:gd name="connsiteY12" fmla="*/ 6302170 h 11070708"/>
                <a:gd name="connsiteX13" fmla="*/ 10311837 w 10954706"/>
                <a:gd name="connsiteY13" fmla="*/ 7273056 h 11070708"/>
                <a:gd name="connsiteX14" fmla="*/ 10618557 w 10954706"/>
                <a:gd name="connsiteY14" fmla="*/ 7711084 h 11070708"/>
                <a:gd name="connsiteX15" fmla="*/ 10677334 w 10954706"/>
                <a:gd name="connsiteY15" fmla="*/ 8916268 h 11070708"/>
                <a:gd name="connsiteX16" fmla="*/ 9833571 w 10954706"/>
                <a:gd name="connsiteY16" fmla="*/ 9993815 h 11070708"/>
                <a:gd name="connsiteX17" fmla="*/ 8425383 w 10954706"/>
                <a:gd name="connsiteY17" fmla="*/ 10729290 h 11070708"/>
                <a:gd name="connsiteX18" fmla="*/ 6655710 w 10954706"/>
                <a:gd name="connsiteY18" fmla="*/ 10791196 h 11070708"/>
                <a:gd name="connsiteX19" fmla="*/ 5209433 w 10954706"/>
                <a:gd name="connsiteY19" fmla="*/ 10216285 h 11070708"/>
                <a:gd name="connsiteX20" fmla="*/ 4278172 w 10954706"/>
                <a:gd name="connsiteY20" fmla="*/ 9047920 h 11070708"/>
                <a:gd name="connsiteX21" fmla="*/ 0 w 10954706"/>
                <a:gd name="connsiteY21" fmla="*/ 0 h 11070708"/>
                <a:gd name="connsiteX22" fmla="*/ 29296 w 10954706"/>
                <a:gd name="connsiteY22" fmla="*/ 590651 h 11070708"/>
                <a:gd name="connsiteX23" fmla="*/ 4056269 w 10954706"/>
                <a:gd name="connsiteY23" fmla="*/ 9447119 h 11070708"/>
                <a:gd name="connsiteX24" fmla="*/ 5148356 w 10954706"/>
                <a:gd name="connsiteY24" fmla="*/ 10469331 h 11070708"/>
                <a:gd name="connsiteX25" fmla="*/ 6644613 w 10954706"/>
                <a:gd name="connsiteY25" fmla="*/ 11014461 h 11070708"/>
                <a:gd name="connsiteX26" fmla="*/ 8515178 w 10954706"/>
                <a:gd name="connsiteY26" fmla="*/ 10954661 h 11070708"/>
                <a:gd name="connsiteX27" fmla="*/ 10015263 w 10954706"/>
                <a:gd name="connsiteY27" fmla="*/ 10141763 h 11070708"/>
                <a:gd name="connsiteX28" fmla="*/ 10876067 w 10954706"/>
                <a:gd name="connsiteY28" fmla="*/ 8997049 h 11070708"/>
                <a:gd name="connsiteX29" fmla="*/ 10812885 w 10954706"/>
                <a:gd name="connsiteY29" fmla="*/ 7574973 h 11070708"/>
                <a:gd name="connsiteX30" fmla="*/ 10490087 w 10954706"/>
                <a:gd name="connsiteY30" fmla="*/ 7099460 h 11070708"/>
                <a:gd name="connsiteX31" fmla="*/ 9521221 w 10954706"/>
                <a:gd name="connsiteY31" fmla="*/ 6147842 h 11070708"/>
                <a:gd name="connsiteX32" fmla="*/ 4958141 w 10954706"/>
                <a:gd name="connsiteY32" fmla="*/ 1548532 h 11070708"/>
                <a:gd name="connsiteX33" fmla="*/ 4039132 w 10954706"/>
                <a:gd name="connsiteY33" fmla="*/ 855362 h 11070708"/>
                <a:gd name="connsiteX34" fmla="*/ 3921251 w 10954706"/>
                <a:gd name="connsiteY34" fmla="*/ 953435 h 11070708"/>
                <a:gd name="connsiteX0" fmla="*/ 3921251 w 10954706"/>
                <a:gd name="connsiteY0" fmla="*/ 953435 h 11070708"/>
                <a:gd name="connsiteX1" fmla="*/ 4550508 w 10954706"/>
                <a:gd name="connsiteY1" fmla="*/ 1650552 h 11070708"/>
                <a:gd name="connsiteX2" fmla="*/ 4377174 w 10954706"/>
                <a:gd name="connsiteY2" fmla="*/ 1727914 h 11070708"/>
                <a:gd name="connsiteX3" fmla="*/ 5776268 w 10954706"/>
                <a:gd name="connsiteY3" fmla="*/ 3313931 h 11070708"/>
                <a:gd name="connsiteX4" fmla="*/ 6048935 w 10954706"/>
                <a:gd name="connsiteY4" fmla="*/ 3635999 h 11070708"/>
                <a:gd name="connsiteX5" fmla="*/ 3976192 w 10954706"/>
                <a:gd name="connsiteY5" fmla="*/ 4479470 h 11070708"/>
                <a:gd name="connsiteX6" fmla="*/ 4091110 w 10954706"/>
                <a:gd name="connsiteY6" fmla="*/ 4752697 h 11070708"/>
                <a:gd name="connsiteX7" fmla="*/ 4769078 w 10954706"/>
                <a:gd name="connsiteY7" fmla="*/ 4472697 h 11070708"/>
                <a:gd name="connsiteX8" fmla="*/ 5088839 w 10954706"/>
                <a:gd name="connsiteY8" fmla="*/ 4987820 h 11070708"/>
                <a:gd name="connsiteX9" fmla="*/ 6719057 w 10954706"/>
                <a:gd name="connsiteY9" fmla="*/ 4290975 h 11070708"/>
                <a:gd name="connsiteX10" fmla="*/ 7787095 w 10954706"/>
                <a:gd name="connsiteY10" fmla="*/ 5458935 h 11070708"/>
                <a:gd name="connsiteX11" fmla="*/ 8214195 w 10954706"/>
                <a:gd name="connsiteY11" fmla="*/ 5375115 h 11070708"/>
                <a:gd name="connsiteX12" fmla="*/ 9453715 w 10954706"/>
                <a:gd name="connsiteY12" fmla="*/ 6302170 h 11070708"/>
                <a:gd name="connsiteX13" fmla="*/ 10311837 w 10954706"/>
                <a:gd name="connsiteY13" fmla="*/ 7273056 h 11070708"/>
                <a:gd name="connsiteX14" fmla="*/ 10618557 w 10954706"/>
                <a:gd name="connsiteY14" fmla="*/ 7711084 h 11070708"/>
                <a:gd name="connsiteX15" fmla="*/ 10677334 w 10954706"/>
                <a:gd name="connsiteY15" fmla="*/ 8916268 h 11070708"/>
                <a:gd name="connsiteX16" fmla="*/ 9833571 w 10954706"/>
                <a:gd name="connsiteY16" fmla="*/ 9993815 h 11070708"/>
                <a:gd name="connsiteX17" fmla="*/ 8425383 w 10954706"/>
                <a:gd name="connsiteY17" fmla="*/ 10729290 h 11070708"/>
                <a:gd name="connsiteX18" fmla="*/ 6655710 w 10954706"/>
                <a:gd name="connsiteY18" fmla="*/ 10791196 h 11070708"/>
                <a:gd name="connsiteX19" fmla="*/ 5209433 w 10954706"/>
                <a:gd name="connsiteY19" fmla="*/ 10216285 h 11070708"/>
                <a:gd name="connsiteX20" fmla="*/ 4278172 w 10954706"/>
                <a:gd name="connsiteY20" fmla="*/ 9047920 h 11070708"/>
                <a:gd name="connsiteX21" fmla="*/ 0 w 10954706"/>
                <a:gd name="connsiteY21" fmla="*/ 0 h 11070708"/>
                <a:gd name="connsiteX22" fmla="*/ 29296 w 10954706"/>
                <a:gd name="connsiteY22" fmla="*/ 590651 h 11070708"/>
                <a:gd name="connsiteX23" fmla="*/ 4056269 w 10954706"/>
                <a:gd name="connsiteY23" fmla="*/ 9447119 h 11070708"/>
                <a:gd name="connsiteX24" fmla="*/ 5148356 w 10954706"/>
                <a:gd name="connsiteY24" fmla="*/ 10469331 h 11070708"/>
                <a:gd name="connsiteX25" fmla="*/ 6644613 w 10954706"/>
                <a:gd name="connsiteY25" fmla="*/ 11014461 h 11070708"/>
                <a:gd name="connsiteX26" fmla="*/ 8515178 w 10954706"/>
                <a:gd name="connsiteY26" fmla="*/ 10954661 h 11070708"/>
                <a:gd name="connsiteX27" fmla="*/ 10015263 w 10954706"/>
                <a:gd name="connsiteY27" fmla="*/ 10141763 h 11070708"/>
                <a:gd name="connsiteX28" fmla="*/ 10876067 w 10954706"/>
                <a:gd name="connsiteY28" fmla="*/ 8997049 h 11070708"/>
                <a:gd name="connsiteX29" fmla="*/ 10812885 w 10954706"/>
                <a:gd name="connsiteY29" fmla="*/ 7574973 h 11070708"/>
                <a:gd name="connsiteX30" fmla="*/ 10490087 w 10954706"/>
                <a:gd name="connsiteY30" fmla="*/ 7099460 h 11070708"/>
                <a:gd name="connsiteX31" fmla="*/ 9521221 w 10954706"/>
                <a:gd name="connsiteY31" fmla="*/ 6147842 h 11070708"/>
                <a:gd name="connsiteX32" fmla="*/ 4958141 w 10954706"/>
                <a:gd name="connsiteY32" fmla="*/ 1548532 h 11070708"/>
                <a:gd name="connsiteX33" fmla="*/ 4039132 w 10954706"/>
                <a:gd name="connsiteY33" fmla="*/ 855362 h 11070708"/>
                <a:gd name="connsiteX34" fmla="*/ 3921251 w 10954706"/>
                <a:gd name="connsiteY34" fmla="*/ 953435 h 11070708"/>
                <a:gd name="connsiteX0" fmla="*/ 3921251 w 10954706"/>
                <a:gd name="connsiteY0" fmla="*/ 953435 h 11070708"/>
                <a:gd name="connsiteX1" fmla="*/ 4550508 w 10954706"/>
                <a:gd name="connsiteY1" fmla="*/ 1650552 h 11070708"/>
                <a:gd name="connsiteX2" fmla="*/ 4377174 w 10954706"/>
                <a:gd name="connsiteY2" fmla="*/ 1727914 h 11070708"/>
                <a:gd name="connsiteX3" fmla="*/ 5776268 w 10954706"/>
                <a:gd name="connsiteY3" fmla="*/ 3313931 h 11070708"/>
                <a:gd name="connsiteX4" fmla="*/ 6048935 w 10954706"/>
                <a:gd name="connsiteY4" fmla="*/ 3635999 h 11070708"/>
                <a:gd name="connsiteX5" fmla="*/ 3976192 w 10954706"/>
                <a:gd name="connsiteY5" fmla="*/ 4479470 h 11070708"/>
                <a:gd name="connsiteX6" fmla="*/ 4091110 w 10954706"/>
                <a:gd name="connsiteY6" fmla="*/ 4752697 h 11070708"/>
                <a:gd name="connsiteX7" fmla="*/ 4769078 w 10954706"/>
                <a:gd name="connsiteY7" fmla="*/ 4472697 h 11070708"/>
                <a:gd name="connsiteX8" fmla="*/ 5088839 w 10954706"/>
                <a:gd name="connsiteY8" fmla="*/ 4987820 h 11070708"/>
                <a:gd name="connsiteX9" fmla="*/ 6719057 w 10954706"/>
                <a:gd name="connsiteY9" fmla="*/ 4290975 h 11070708"/>
                <a:gd name="connsiteX10" fmla="*/ 7787095 w 10954706"/>
                <a:gd name="connsiteY10" fmla="*/ 5458935 h 11070708"/>
                <a:gd name="connsiteX11" fmla="*/ 8103044 w 10954706"/>
                <a:gd name="connsiteY11" fmla="*/ 5257807 h 11070708"/>
                <a:gd name="connsiteX12" fmla="*/ 9453715 w 10954706"/>
                <a:gd name="connsiteY12" fmla="*/ 6302170 h 11070708"/>
                <a:gd name="connsiteX13" fmla="*/ 10311837 w 10954706"/>
                <a:gd name="connsiteY13" fmla="*/ 7273056 h 11070708"/>
                <a:gd name="connsiteX14" fmla="*/ 10618557 w 10954706"/>
                <a:gd name="connsiteY14" fmla="*/ 7711084 h 11070708"/>
                <a:gd name="connsiteX15" fmla="*/ 10677334 w 10954706"/>
                <a:gd name="connsiteY15" fmla="*/ 8916268 h 11070708"/>
                <a:gd name="connsiteX16" fmla="*/ 9833571 w 10954706"/>
                <a:gd name="connsiteY16" fmla="*/ 9993815 h 11070708"/>
                <a:gd name="connsiteX17" fmla="*/ 8425383 w 10954706"/>
                <a:gd name="connsiteY17" fmla="*/ 10729290 h 11070708"/>
                <a:gd name="connsiteX18" fmla="*/ 6655710 w 10954706"/>
                <a:gd name="connsiteY18" fmla="*/ 10791196 h 11070708"/>
                <a:gd name="connsiteX19" fmla="*/ 5209433 w 10954706"/>
                <a:gd name="connsiteY19" fmla="*/ 10216285 h 11070708"/>
                <a:gd name="connsiteX20" fmla="*/ 4278172 w 10954706"/>
                <a:gd name="connsiteY20" fmla="*/ 9047920 h 11070708"/>
                <a:gd name="connsiteX21" fmla="*/ 0 w 10954706"/>
                <a:gd name="connsiteY21" fmla="*/ 0 h 11070708"/>
                <a:gd name="connsiteX22" fmla="*/ 29296 w 10954706"/>
                <a:gd name="connsiteY22" fmla="*/ 590651 h 11070708"/>
                <a:gd name="connsiteX23" fmla="*/ 4056269 w 10954706"/>
                <a:gd name="connsiteY23" fmla="*/ 9447119 h 11070708"/>
                <a:gd name="connsiteX24" fmla="*/ 5148356 w 10954706"/>
                <a:gd name="connsiteY24" fmla="*/ 10469331 h 11070708"/>
                <a:gd name="connsiteX25" fmla="*/ 6644613 w 10954706"/>
                <a:gd name="connsiteY25" fmla="*/ 11014461 h 11070708"/>
                <a:gd name="connsiteX26" fmla="*/ 8515178 w 10954706"/>
                <a:gd name="connsiteY26" fmla="*/ 10954661 h 11070708"/>
                <a:gd name="connsiteX27" fmla="*/ 10015263 w 10954706"/>
                <a:gd name="connsiteY27" fmla="*/ 10141763 h 11070708"/>
                <a:gd name="connsiteX28" fmla="*/ 10876067 w 10954706"/>
                <a:gd name="connsiteY28" fmla="*/ 8997049 h 11070708"/>
                <a:gd name="connsiteX29" fmla="*/ 10812885 w 10954706"/>
                <a:gd name="connsiteY29" fmla="*/ 7574973 h 11070708"/>
                <a:gd name="connsiteX30" fmla="*/ 10490087 w 10954706"/>
                <a:gd name="connsiteY30" fmla="*/ 7099460 h 11070708"/>
                <a:gd name="connsiteX31" fmla="*/ 9521221 w 10954706"/>
                <a:gd name="connsiteY31" fmla="*/ 6147842 h 11070708"/>
                <a:gd name="connsiteX32" fmla="*/ 4958141 w 10954706"/>
                <a:gd name="connsiteY32" fmla="*/ 1548532 h 11070708"/>
                <a:gd name="connsiteX33" fmla="*/ 4039132 w 10954706"/>
                <a:gd name="connsiteY33" fmla="*/ 855362 h 11070708"/>
                <a:gd name="connsiteX34" fmla="*/ 3921251 w 10954706"/>
                <a:gd name="connsiteY34" fmla="*/ 953435 h 11070708"/>
                <a:gd name="connsiteX0" fmla="*/ 3921251 w 10954706"/>
                <a:gd name="connsiteY0" fmla="*/ 953435 h 11070708"/>
                <a:gd name="connsiteX1" fmla="*/ 4550508 w 10954706"/>
                <a:gd name="connsiteY1" fmla="*/ 1650552 h 11070708"/>
                <a:gd name="connsiteX2" fmla="*/ 4377174 w 10954706"/>
                <a:gd name="connsiteY2" fmla="*/ 1727914 h 11070708"/>
                <a:gd name="connsiteX3" fmla="*/ 5776268 w 10954706"/>
                <a:gd name="connsiteY3" fmla="*/ 3313931 h 11070708"/>
                <a:gd name="connsiteX4" fmla="*/ 6048935 w 10954706"/>
                <a:gd name="connsiteY4" fmla="*/ 3635999 h 11070708"/>
                <a:gd name="connsiteX5" fmla="*/ 3976192 w 10954706"/>
                <a:gd name="connsiteY5" fmla="*/ 4479470 h 11070708"/>
                <a:gd name="connsiteX6" fmla="*/ 4091110 w 10954706"/>
                <a:gd name="connsiteY6" fmla="*/ 4752697 h 11070708"/>
                <a:gd name="connsiteX7" fmla="*/ 4769078 w 10954706"/>
                <a:gd name="connsiteY7" fmla="*/ 4472697 h 11070708"/>
                <a:gd name="connsiteX8" fmla="*/ 5088839 w 10954706"/>
                <a:gd name="connsiteY8" fmla="*/ 4987820 h 11070708"/>
                <a:gd name="connsiteX9" fmla="*/ 6719057 w 10954706"/>
                <a:gd name="connsiteY9" fmla="*/ 4290975 h 11070708"/>
                <a:gd name="connsiteX10" fmla="*/ 7787095 w 10954706"/>
                <a:gd name="connsiteY10" fmla="*/ 5458935 h 11070708"/>
                <a:gd name="connsiteX11" fmla="*/ 8103044 w 10954706"/>
                <a:gd name="connsiteY11" fmla="*/ 5257807 h 11070708"/>
                <a:gd name="connsiteX12" fmla="*/ 9335618 w 10954706"/>
                <a:gd name="connsiteY12" fmla="*/ 6527006 h 11070708"/>
                <a:gd name="connsiteX13" fmla="*/ 10311837 w 10954706"/>
                <a:gd name="connsiteY13" fmla="*/ 7273056 h 11070708"/>
                <a:gd name="connsiteX14" fmla="*/ 10618557 w 10954706"/>
                <a:gd name="connsiteY14" fmla="*/ 7711084 h 11070708"/>
                <a:gd name="connsiteX15" fmla="*/ 10677334 w 10954706"/>
                <a:gd name="connsiteY15" fmla="*/ 8916268 h 11070708"/>
                <a:gd name="connsiteX16" fmla="*/ 9833571 w 10954706"/>
                <a:gd name="connsiteY16" fmla="*/ 9993815 h 11070708"/>
                <a:gd name="connsiteX17" fmla="*/ 8425383 w 10954706"/>
                <a:gd name="connsiteY17" fmla="*/ 10729290 h 11070708"/>
                <a:gd name="connsiteX18" fmla="*/ 6655710 w 10954706"/>
                <a:gd name="connsiteY18" fmla="*/ 10791196 h 11070708"/>
                <a:gd name="connsiteX19" fmla="*/ 5209433 w 10954706"/>
                <a:gd name="connsiteY19" fmla="*/ 10216285 h 11070708"/>
                <a:gd name="connsiteX20" fmla="*/ 4278172 w 10954706"/>
                <a:gd name="connsiteY20" fmla="*/ 9047920 h 11070708"/>
                <a:gd name="connsiteX21" fmla="*/ 0 w 10954706"/>
                <a:gd name="connsiteY21" fmla="*/ 0 h 11070708"/>
                <a:gd name="connsiteX22" fmla="*/ 29296 w 10954706"/>
                <a:gd name="connsiteY22" fmla="*/ 590651 h 11070708"/>
                <a:gd name="connsiteX23" fmla="*/ 4056269 w 10954706"/>
                <a:gd name="connsiteY23" fmla="*/ 9447119 h 11070708"/>
                <a:gd name="connsiteX24" fmla="*/ 5148356 w 10954706"/>
                <a:gd name="connsiteY24" fmla="*/ 10469331 h 11070708"/>
                <a:gd name="connsiteX25" fmla="*/ 6644613 w 10954706"/>
                <a:gd name="connsiteY25" fmla="*/ 11014461 h 11070708"/>
                <a:gd name="connsiteX26" fmla="*/ 8515178 w 10954706"/>
                <a:gd name="connsiteY26" fmla="*/ 10954661 h 11070708"/>
                <a:gd name="connsiteX27" fmla="*/ 10015263 w 10954706"/>
                <a:gd name="connsiteY27" fmla="*/ 10141763 h 11070708"/>
                <a:gd name="connsiteX28" fmla="*/ 10876067 w 10954706"/>
                <a:gd name="connsiteY28" fmla="*/ 8997049 h 11070708"/>
                <a:gd name="connsiteX29" fmla="*/ 10812885 w 10954706"/>
                <a:gd name="connsiteY29" fmla="*/ 7574973 h 11070708"/>
                <a:gd name="connsiteX30" fmla="*/ 10490087 w 10954706"/>
                <a:gd name="connsiteY30" fmla="*/ 7099460 h 11070708"/>
                <a:gd name="connsiteX31" fmla="*/ 9521221 w 10954706"/>
                <a:gd name="connsiteY31" fmla="*/ 6147842 h 11070708"/>
                <a:gd name="connsiteX32" fmla="*/ 4958141 w 10954706"/>
                <a:gd name="connsiteY32" fmla="*/ 1548532 h 11070708"/>
                <a:gd name="connsiteX33" fmla="*/ 4039132 w 10954706"/>
                <a:gd name="connsiteY33" fmla="*/ 855362 h 11070708"/>
                <a:gd name="connsiteX34" fmla="*/ 3921251 w 10954706"/>
                <a:gd name="connsiteY34" fmla="*/ 953435 h 11070708"/>
                <a:gd name="connsiteX0" fmla="*/ 3921251 w 10954706"/>
                <a:gd name="connsiteY0" fmla="*/ 953435 h 11070708"/>
                <a:gd name="connsiteX1" fmla="*/ 4550508 w 10954706"/>
                <a:gd name="connsiteY1" fmla="*/ 1650552 h 11070708"/>
                <a:gd name="connsiteX2" fmla="*/ 4377174 w 10954706"/>
                <a:gd name="connsiteY2" fmla="*/ 1727914 h 11070708"/>
                <a:gd name="connsiteX3" fmla="*/ 5776268 w 10954706"/>
                <a:gd name="connsiteY3" fmla="*/ 3313931 h 11070708"/>
                <a:gd name="connsiteX4" fmla="*/ 6048935 w 10954706"/>
                <a:gd name="connsiteY4" fmla="*/ 3635999 h 11070708"/>
                <a:gd name="connsiteX5" fmla="*/ 3976192 w 10954706"/>
                <a:gd name="connsiteY5" fmla="*/ 4479470 h 11070708"/>
                <a:gd name="connsiteX6" fmla="*/ 4091110 w 10954706"/>
                <a:gd name="connsiteY6" fmla="*/ 4752697 h 11070708"/>
                <a:gd name="connsiteX7" fmla="*/ 4769078 w 10954706"/>
                <a:gd name="connsiteY7" fmla="*/ 4472697 h 11070708"/>
                <a:gd name="connsiteX8" fmla="*/ 5088839 w 10954706"/>
                <a:gd name="connsiteY8" fmla="*/ 4987820 h 11070708"/>
                <a:gd name="connsiteX9" fmla="*/ 6719057 w 10954706"/>
                <a:gd name="connsiteY9" fmla="*/ 4290975 h 11070708"/>
                <a:gd name="connsiteX10" fmla="*/ 7787095 w 10954706"/>
                <a:gd name="connsiteY10" fmla="*/ 5458935 h 11070708"/>
                <a:gd name="connsiteX11" fmla="*/ 8103044 w 10954706"/>
                <a:gd name="connsiteY11" fmla="*/ 5257807 h 11070708"/>
                <a:gd name="connsiteX12" fmla="*/ 9335618 w 10954706"/>
                <a:gd name="connsiteY12" fmla="*/ 6527006 h 11070708"/>
                <a:gd name="connsiteX13" fmla="*/ 10311837 w 10954706"/>
                <a:gd name="connsiteY13" fmla="*/ 7273056 h 11070708"/>
                <a:gd name="connsiteX14" fmla="*/ 10618557 w 10954706"/>
                <a:gd name="connsiteY14" fmla="*/ 7711084 h 11070708"/>
                <a:gd name="connsiteX15" fmla="*/ 10677334 w 10954706"/>
                <a:gd name="connsiteY15" fmla="*/ 8916268 h 11070708"/>
                <a:gd name="connsiteX16" fmla="*/ 9833571 w 10954706"/>
                <a:gd name="connsiteY16" fmla="*/ 9993815 h 11070708"/>
                <a:gd name="connsiteX17" fmla="*/ 8425383 w 10954706"/>
                <a:gd name="connsiteY17" fmla="*/ 10729290 h 11070708"/>
                <a:gd name="connsiteX18" fmla="*/ 6655710 w 10954706"/>
                <a:gd name="connsiteY18" fmla="*/ 10791196 h 11070708"/>
                <a:gd name="connsiteX19" fmla="*/ 5209433 w 10954706"/>
                <a:gd name="connsiteY19" fmla="*/ 10216285 h 11070708"/>
                <a:gd name="connsiteX20" fmla="*/ 4278172 w 10954706"/>
                <a:gd name="connsiteY20" fmla="*/ 9047920 h 11070708"/>
                <a:gd name="connsiteX21" fmla="*/ 0 w 10954706"/>
                <a:gd name="connsiteY21" fmla="*/ 0 h 11070708"/>
                <a:gd name="connsiteX22" fmla="*/ 29296 w 10954706"/>
                <a:gd name="connsiteY22" fmla="*/ 590651 h 11070708"/>
                <a:gd name="connsiteX23" fmla="*/ 4056269 w 10954706"/>
                <a:gd name="connsiteY23" fmla="*/ 9447119 h 11070708"/>
                <a:gd name="connsiteX24" fmla="*/ 5148356 w 10954706"/>
                <a:gd name="connsiteY24" fmla="*/ 10469331 h 11070708"/>
                <a:gd name="connsiteX25" fmla="*/ 6644613 w 10954706"/>
                <a:gd name="connsiteY25" fmla="*/ 11014461 h 11070708"/>
                <a:gd name="connsiteX26" fmla="*/ 8515178 w 10954706"/>
                <a:gd name="connsiteY26" fmla="*/ 10954661 h 11070708"/>
                <a:gd name="connsiteX27" fmla="*/ 10015263 w 10954706"/>
                <a:gd name="connsiteY27" fmla="*/ 10141763 h 11070708"/>
                <a:gd name="connsiteX28" fmla="*/ 10876067 w 10954706"/>
                <a:gd name="connsiteY28" fmla="*/ 8997049 h 11070708"/>
                <a:gd name="connsiteX29" fmla="*/ 10812885 w 10954706"/>
                <a:gd name="connsiteY29" fmla="*/ 7574973 h 11070708"/>
                <a:gd name="connsiteX30" fmla="*/ 10490087 w 10954706"/>
                <a:gd name="connsiteY30" fmla="*/ 7099460 h 11070708"/>
                <a:gd name="connsiteX31" fmla="*/ 8833476 w 10954706"/>
                <a:gd name="connsiteY31" fmla="*/ 5483107 h 11070708"/>
                <a:gd name="connsiteX32" fmla="*/ 4958141 w 10954706"/>
                <a:gd name="connsiteY32" fmla="*/ 1548532 h 11070708"/>
                <a:gd name="connsiteX33" fmla="*/ 4039132 w 10954706"/>
                <a:gd name="connsiteY33" fmla="*/ 855362 h 11070708"/>
                <a:gd name="connsiteX34" fmla="*/ 3921251 w 10954706"/>
                <a:gd name="connsiteY34" fmla="*/ 953435 h 11070708"/>
                <a:gd name="connsiteX0" fmla="*/ 3921251 w 10954706"/>
                <a:gd name="connsiteY0" fmla="*/ 953435 h 11070708"/>
                <a:gd name="connsiteX1" fmla="*/ 4550508 w 10954706"/>
                <a:gd name="connsiteY1" fmla="*/ 1650552 h 11070708"/>
                <a:gd name="connsiteX2" fmla="*/ 4377174 w 10954706"/>
                <a:gd name="connsiteY2" fmla="*/ 1727914 h 11070708"/>
                <a:gd name="connsiteX3" fmla="*/ 5776268 w 10954706"/>
                <a:gd name="connsiteY3" fmla="*/ 3313931 h 11070708"/>
                <a:gd name="connsiteX4" fmla="*/ 6048935 w 10954706"/>
                <a:gd name="connsiteY4" fmla="*/ 3635999 h 11070708"/>
                <a:gd name="connsiteX5" fmla="*/ 3976192 w 10954706"/>
                <a:gd name="connsiteY5" fmla="*/ 4479470 h 11070708"/>
                <a:gd name="connsiteX6" fmla="*/ 4091110 w 10954706"/>
                <a:gd name="connsiteY6" fmla="*/ 4752697 h 11070708"/>
                <a:gd name="connsiteX7" fmla="*/ 4769078 w 10954706"/>
                <a:gd name="connsiteY7" fmla="*/ 4472697 h 11070708"/>
                <a:gd name="connsiteX8" fmla="*/ 5088839 w 10954706"/>
                <a:gd name="connsiteY8" fmla="*/ 4987820 h 11070708"/>
                <a:gd name="connsiteX9" fmla="*/ 6719057 w 10954706"/>
                <a:gd name="connsiteY9" fmla="*/ 4290975 h 11070708"/>
                <a:gd name="connsiteX10" fmla="*/ 7787095 w 10954706"/>
                <a:gd name="connsiteY10" fmla="*/ 5458935 h 11070708"/>
                <a:gd name="connsiteX11" fmla="*/ 8103044 w 10954706"/>
                <a:gd name="connsiteY11" fmla="*/ 5257807 h 11070708"/>
                <a:gd name="connsiteX12" fmla="*/ 9335618 w 10954706"/>
                <a:gd name="connsiteY12" fmla="*/ 6527006 h 11070708"/>
                <a:gd name="connsiteX13" fmla="*/ 9901967 w 10954706"/>
                <a:gd name="connsiteY13" fmla="*/ 7067771 h 11070708"/>
                <a:gd name="connsiteX14" fmla="*/ 10618557 w 10954706"/>
                <a:gd name="connsiteY14" fmla="*/ 7711084 h 11070708"/>
                <a:gd name="connsiteX15" fmla="*/ 10677334 w 10954706"/>
                <a:gd name="connsiteY15" fmla="*/ 8916268 h 11070708"/>
                <a:gd name="connsiteX16" fmla="*/ 9833571 w 10954706"/>
                <a:gd name="connsiteY16" fmla="*/ 9993815 h 11070708"/>
                <a:gd name="connsiteX17" fmla="*/ 8425383 w 10954706"/>
                <a:gd name="connsiteY17" fmla="*/ 10729290 h 11070708"/>
                <a:gd name="connsiteX18" fmla="*/ 6655710 w 10954706"/>
                <a:gd name="connsiteY18" fmla="*/ 10791196 h 11070708"/>
                <a:gd name="connsiteX19" fmla="*/ 5209433 w 10954706"/>
                <a:gd name="connsiteY19" fmla="*/ 10216285 h 11070708"/>
                <a:gd name="connsiteX20" fmla="*/ 4278172 w 10954706"/>
                <a:gd name="connsiteY20" fmla="*/ 9047920 h 11070708"/>
                <a:gd name="connsiteX21" fmla="*/ 0 w 10954706"/>
                <a:gd name="connsiteY21" fmla="*/ 0 h 11070708"/>
                <a:gd name="connsiteX22" fmla="*/ 29296 w 10954706"/>
                <a:gd name="connsiteY22" fmla="*/ 590651 h 11070708"/>
                <a:gd name="connsiteX23" fmla="*/ 4056269 w 10954706"/>
                <a:gd name="connsiteY23" fmla="*/ 9447119 h 11070708"/>
                <a:gd name="connsiteX24" fmla="*/ 5148356 w 10954706"/>
                <a:gd name="connsiteY24" fmla="*/ 10469331 h 11070708"/>
                <a:gd name="connsiteX25" fmla="*/ 6644613 w 10954706"/>
                <a:gd name="connsiteY25" fmla="*/ 11014461 h 11070708"/>
                <a:gd name="connsiteX26" fmla="*/ 8515178 w 10954706"/>
                <a:gd name="connsiteY26" fmla="*/ 10954661 h 11070708"/>
                <a:gd name="connsiteX27" fmla="*/ 10015263 w 10954706"/>
                <a:gd name="connsiteY27" fmla="*/ 10141763 h 11070708"/>
                <a:gd name="connsiteX28" fmla="*/ 10876067 w 10954706"/>
                <a:gd name="connsiteY28" fmla="*/ 8997049 h 11070708"/>
                <a:gd name="connsiteX29" fmla="*/ 10812885 w 10954706"/>
                <a:gd name="connsiteY29" fmla="*/ 7574973 h 11070708"/>
                <a:gd name="connsiteX30" fmla="*/ 10490087 w 10954706"/>
                <a:gd name="connsiteY30" fmla="*/ 7099460 h 11070708"/>
                <a:gd name="connsiteX31" fmla="*/ 8833476 w 10954706"/>
                <a:gd name="connsiteY31" fmla="*/ 5483107 h 11070708"/>
                <a:gd name="connsiteX32" fmla="*/ 4958141 w 10954706"/>
                <a:gd name="connsiteY32" fmla="*/ 1548532 h 11070708"/>
                <a:gd name="connsiteX33" fmla="*/ 4039132 w 10954706"/>
                <a:gd name="connsiteY33" fmla="*/ 855362 h 11070708"/>
                <a:gd name="connsiteX34" fmla="*/ 3921251 w 10954706"/>
                <a:gd name="connsiteY34" fmla="*/ 953435 h 11070708"/>
                <a:gd name="connsiteX0" fmla="*/ 3921251 w 10954706"/>
                <a:gd name="connsiteY0" fmla="*/ 953435 h 11070708"/>
                <a:gd name="connsiteX1" fmla="*/ 4550508 w 10954706"/>
                <a:gd name="connsiteY1" fmla="*/ 1650552 h 11070708"/>
                <a:gd name="connsiteX2" fmla="*/ 4377174 w 10954706"/>
                <a:gd name="connsiteY2" fmla="*/ 1727914 h 11070708"/>
                <a:gd name="connsiteX3" fmla="*/ 5776268 w 10954706"/>
                <a:gd name="connsiteY3" fmla="*/ 3313931 h 11070708"/>
                <a:gd name="connsiteX4" fmla="*/ 6048935 w 10954706"/>
                <a:gd name="connsiteY4" fmla="*/ 3635999 h 11070708"/>
                <a:gd name="connsiteX5" fmla="*/ 3976192 w 10954706"/>
                <a:gd name="connsiteY5" fmla="*/ 4479470 h 11070708"/>
                <a:gd name="connsiteX6" fmla="*/ 4091110 w 10954706"/>
                <a:gd name="connsiteY6" fmla="*/ 4752697 h 11070708"/>
                <a:gd name="connsiteX7" fmla="*/ 4769078 w 10954706"/>
                <a:gd name="connsiteY7" fmla="*/ 4472697 h 11070708"/>
                <a:gd name="connsiteX8" fmla="*/ 5088839 w 10954706"/>
                <a:gd name="connsiteY8" fmla="*/ 4987820 h 11070708"/>
                <a:gd name="connsiteX9" fmla="*/ 6719057 w 10954706"/>
                <a:gd name="connsiteY9" fmla="*/ 4290975 h 11070708"/>
                <a:gd name="connsiteX10" fmla="*/ 7787095 w 10954706"/>
                <a:gd name="connsiteY10" fmla="*/ 5458935 h 11070708"/>
                <a:gd name="connsiteX11" fmla="*/ 8103044 w 10954706"/>
                <a:gd name="connsiteY11" fmla="*/ 5257807 h 11070708"/>
                <a:gd name="connsiteX12" fmla="*/ 9335618 w 10954706"/>
                <a:gd name="connsiteY12" fmla="*/ 6527006 h 11070708"/>
                <a:gd name="connsiteX13" fmla="*/ 9901967 w 10954706"/>
                <a:gd name="connsiteY13" fmla="*/ 7067771 h 11070708"/>
                <a:gd name="connsiteX14" fmla="*/ 10618557 w 10954706"/>
                <a:gd name="connsiteY14" fmla="*/ 7711084 h 11070708"/>
                <a:gd name="connsiteX15" fmla="*/ 10677334 w 10954706"/>
                <a:gd name="connsiteY15" fmla="*/ 8916268 h 11070708"/>
                <a:gd name="connsiteX16" fmla="*/ 9833571 w 10954706"/>
                <a:gd name="connsiteY16" fmla="*/ 9993815 h 11070708"/>
                <a:gd name="connsiteX17" fmla="*/ 8425383 w 10954706"/>
                <a:gd name="connsiteY17" fmla="*/ 10729290 h 11070708"/>
                <a:gd name="connsiteX18" fmla="*/ 6655710 w 10954706"/>
                <a:gd name="connsiteY18" fmla="*/ 10791196 h 11070708"/>
                <a:gd name="connsiteX19" fmla="*/ 5209433 w 10954706"/>
                <a:gd name="connsiteY19" fmla="*/ 10216285 h 11070708"/>
                <a:gd name="connsiteX20" fmla="*/ 4278172 w 10954706"/>
                <a:gd name="connsiteY20" fmla="*/ 9047920 h 11070708"/>
                <a:gd name="connsiteX21" fmla="*/ 0 w 10954706"/>
                <a:gd name="connsiteY21" fmla="*/ 0 h 11070708"/>
                <a:gd name="connsiteX22" fmla="*/ 29296 w 10954706"/>
                <a:gd name="connsiteY22" fmla="*/ 590651 h 11070708"/>
                <a:gd name="connsiteX23" fmla="*/ 4056269 w 10954706"/>
                <a:gd name="connsiteY23" fmla="*/ 9447119 h 11070708"/>
                <a:gd name="connsiteX24" fmla="*/ 5148356 w 10954706"/>
                <a:gd name="connsiteY24" fmla="*/ 10469331 h 11070708"/>
                <a:gd name="connsiteX25" fmla="*/ 6644613 w 10954706"/>
                <a:gd name="connsiteY25" fmla="*/ 11014461 h 11070708"/>
                <a:gd name="connsiteX26" fmla="*/ 8515178 w 10954706"/>
                <a:gd name="connsiteY26" fmla="*/ 10954661 h 11070708"/>
                <a:gd name="connsiteX27" fmla="*/ 10015263 w 10954706"/>
                <a:gd name="connsiteY27" fmla="*/ 10141763 h 11070708"/>
                <a:gd name="connsiteX28" fmla="*/ 10876067 w 10954706"/>
                <a:gd name="connsiteY28" fmla="*/ 8997049 h 11070708"/>
                <a:gd name="connsiteX29" fmla="*/ 10812885 w 10954706"/>
                <a:gd name="connsiteY29" fmla="*/ 7574973 h 11070708"/>
                <a:gd name="connsiteX30" fmla="*/ 9913490 w 10954706"/>
                <a:gd name="connsiteY30" fmla="*/ 6874626 h 11070708"/>
                <a:gd name="connsiteX31" fmla="*/ 8833476 w 10954706"/>
                <a:gd name="connsiteY31" fmla="*/ 5483107 h 11070708"/>
                <a:gd name="connsiteX32" fmla="*/ 4958141 w 10954706"/>
                <a:gd name="connsiteY32" fmla="*/ 1548532 h 11070708"/>
                <a:gd name="connsiteX33" fmla="*/ 4039132 w 10954706"/>
                <a:gd name="connsiteY33" fmla="*/ 855362 h 11070708"/>
                <a:gd name="connsiteX34" fmla="*/ 3921251 w 10954706"/>
                <a:gd name="connsiteY34" fmla="*/ 953435 h 11070708"/>
                <a:gd name="connsiteX0" fmla="*/ 3921251 w 10954706"/>
                <a:gd name="connsiteY0" fmla="*/ 953435 h 11070708"/>
                <a:gd name="connsiteX1" fmla="*/ 4550508 w 10954706"/>
                <a:gd name="connsiteY1" fmla="*/ 1650552 h 11070708"/>
                <a:gd name="connsiteX2" fmla="*/ 4377174 w 10954706"/>
                <a:gd name="connsiteY2" fmla="*/ 1727914 h 11070708"/>
                <a:gd name="connsiteX3" fmla="*/ 5776268 w 10954706"/>
                <a:gd name="connsiteY3" fmla="*/ 3313931 h 11070708"/>
                <a:gd name="connsiteX4" fmla="*/ 6048935 w 10954706"/>
                <a:gd name="connsiteY4" fmla="*/ 3635999 h 11070708"/>
                <a:gd name="connsiteX5" fmla="*/ 3976192 w 10954706"/>
                <a:gd name="connsiteY5" fmla="*/ 4479470 h 11070708"/>
                <a:gd name="connsiteX6" fmla="*/ 4091110 w 10954706"/>
                <a:gd name="connsiteY6" fmla="*/ 4752697 h 11070708"/>
                <a:gd name="connsiteX7" fmla="*/ 4769078 w 10954706"/>
                <a:gd name="connsiteY7" fmla="*/ 4472697 h 11070708"/>
                <a:gd name="connsiteX8" fmla="*/ 5088839 w 10954706"/>
                <a:gd name="connsiteY8" fmla="*/ 4987820 h 11070708"/>
                <a:gd name="connsiteX9" fmla="*/ 6719057 w 10954706"/>
                <a:gd name="connsiteY9" fmla="*/ 4290975 h 11070708"/>
                <a:gd name="connsiteX10" fmla="*/ 7787095 w 10954706"/>
                <a:gd name="connsiteY10" fmla="*/ 5458935 h 11070708"/>
                <a:gd name="connsiteX11" fmla="*/ 8103044 w 10954706"/>
                <a:gd name="connsiteY11" fmla="*/ 5257807 h 11070708"/>
                <a:gd name="connsiteX12" fmla="*/ 9335618 w 10954706"/>
                <a:gd name="connsiteY12" fmla="*/ 6527006 h 11070708"/>
                <a:gd name="connsiteX13" fmla="*/ 9901967 w 10954706"/>
                <a:gd name="connsiteY13" fmla="*/ 7067771 h 11070708"/>
                <a:gd name="connsiteX14" fmla="*/ 10305946 w 10954706"/>
                <a:gd name="connsiteY14" fmla="*/ 7975025 h 11070708"/>
                <a:gd name="connsiteX15" fmla="*/ 10677334 w 10954706"/>
                <a:gd name="connsiteY15" fmla="*/ 8916268 h 11070708"/>
                <a:gd name="connsiteX16" fmla="*/ 9833571 w 10954706"/>
                <a:gd name="connsiteY16" fmla="*/ 9993815 h 11070708"/>
                <a:gd name="connsiteX17" fmla="*/ 8425383 w 10954706"/>
                <a:gd name="connsiteY17" fmla="*/ 10729290 h 11070708"/>
                <a:gd name="connsiteX18" fmla="*/ 6655710 w 10954706"/>
                <a:gd name="connsiteY18" fmla="*/ 10791196 h 11070708"/>
                <a:gd name="connsiteX19" fmla="*/ 5209433 w 10954706"/>
                <a:gd name="connsiteY19" fmla="*/ 10216285 h 11070708"/>
                <a:gd name="connsiteX20" fmla="*/ 4278172 w 10954706"/>
                <a:gd name="connsiteY20" fmla="*/ 9047920 h 11070708"/>
                <a:gd name="connsiteX21" fmla="*/ 0 w 10954706"/>
                <a:gd name="connsiteY21" fmla="*/ 0 h 11070708"/>
                <a:gd name="connsiteX22" fmla="*/ 29296 w 10954706"/>
                <a:gd name="connsiteY22" fmla="*/ 590651 h 11070708"/>
                <a:gd name="connsiteX23" fmla="*/ 4056269 w 10954706"/>
                <a:gd name="connsiteY23" fmla="*/ 9447119 h 11070708"/>
                <a:gd name="connsiteX24" fmla="*/ 5148356 w 10954706"/>
                <a:gd name="connsiteY24" fmla="*/ 10469331 h 11070708"/>
                <a:gd name="connsiteX25" fmla="*/ 6644613 w 10954706"/>
                <a:gd name="connsiteY25" fmla="*/ 11014461 h 11070708"/>
                <a:gd name="connsiteX26" fmla="*/ 8515178 w 10954706"/>
                <a:gd name="connsiteY26" fmla="*/ 10954661 h 11070708"/>
                <a:gd name="connsiteX27" fmla="*/ 10015263 w 10954706"/>
                <a:gd name="connsiteY27" fmla="*/ 10141763 h 11070708"/>
                <a:gd name="connsiteX28" fmla="*/ 10876067 w 10954706"/>
                <a:gd name="connsiteY28" fmla="*/ 8997049 h 11070708"/>
                <a:gd name="connsiteX29" fmla="*/ 10812885 w 10954706"/>
                <a:gd name="connsiteY29" fmla="*/ 7574973 h 11070708"/>
                <a:gd name="connsiteX30" fmla="*/ 9913490 w 10954706"/>
                <a:gd name="connsiteY30" fmla="*/ 6874626 h 11070708"/>
                <a:gd name="connsiteX31" fmla="*/ 8833476 w 10954706"/>
                <a:gd name="connsiteY31" fmla="*/ 5483107 h 11070708"/>
                <a:gd name="connsiteX32" fmla="*/ 4958141 w 10954706"/>
                <a:gd name="connsiteY32" fmla="*/ 1548532 h 11070708"/>
                <a:gd name="connsiteX33" fmla="*/ 4039132 w 10954706"/>
                <a:gd name="connsiteY33" fmla="*/ 855362 h 11070708"/>
                <a:gd name="connsiteX34" fmla="*/ 3921251 w 10954706"/>
                <a:gd name="connsiteY34" fmla="*/ 953435 h 11070708"/>
                <a:gd name="connsiteX0" fmla="*/ 3921251 w 10882957"/>
                <a:gd name="connsiteY0" fmla="*/ 953435 h 11070708"/>
                <a:gd name="connsiteX1" fmla="*/ 4550508 w 10882957"/>
                <a:gd name="connsiteY1" fmla="*/ 1650552 h 11070708"/>
                <a:gd name="connsiteX2" fmla="*/ 4377174 w 10882957"/>
                <a:gd name="connsiteY2" fmla="*/ 1727914 h 11070708"/>
                <a:gd name="connsiteX3" fmla="*/ 5776268 w 10882957"/>
                <a:gd name="connsiteY3" fmla="*/ 3313931 h 11070708"/>
                <a:gd name="connsiteX4" fmla="*/ 6048935 w 10882957"/>
                <a:gd name="connsiteY4" fmla="*/ 3635999 h 11070708"/>
                <a:gd name="connsiteX5" fmla="*/ 3976192 w 10882957"/>
                <a:gd name="connsiteY5" fmla="*/ 4479470 h 11070708"/>
                <a:gd name="connsiteX6" fmla="*/ 4091110 w 10882957"/>
                <a:gd name="connsiteY6" fmla="*/ 4752697 h 11070708"/>
                <a:gd name="connsiteX7" fmla="*/ 4769078 w 10882957"/>
                <a:gd name="connsiteY7" fmla="*/ 4472697 h 11070708"/>
                <a:gd name="connsiteX8" fmla="*/ 5088839 w 10882957"/>
                <a:gd name="connsiteY8" fmla="*/ 4987820 h 11070708"/>
                <a:gd name="connsiteX9" fmla="*/ 6719057 w 10882957"/>
                <a:gd name="connsiteY9" fmla="*/ 4290975 h 11070708"/>
                <a:gd name="connsiteX10" fmla="*/ 7787095 w 10882957"/>
                <a:gd name="connsiteY10" fmla="*/ 5458935 h 11070708"/>
                <a:gd name="connsiteX11" fmla="*/ 8103044 w 10882957"/>
                <a:gd name="connsiteY11" fmla="*/ 5257807 h 11070708"/>
                <a:gd name="connsiteX12" fmla="*/ 9335618 w 10882957"/>
                <a:gd name="connsiteY12" fmla="*/ 6527006 h 11070708"/>
                <a:gd name="connsiteX13" fmla="*/ 9901967 w 10882957"/>
                <a:gd name="connsiteY13" fmla="*/ 7067771 h 11070708"/>
                <a:gd name="connsiteX14" fmla="*/ 10305946 w 10882957"/>
                <a:gd name="connsiteY14" fmla="*/ 7975025 h 11070708"/>
                <a:gd name="connsiteX15" fmla="*/ 10677334 w 10882957"/>
                <a:gd name="connsiteY15" fmla="*/ 8916268 h 11070708"/>
                <a:gd name="connsiteX16" fmla="*/ 9833571 w 10882957"/>
                <a:gd name="connsiteY16" fmla="*/ 9993815 h 11070708"/>
                <a:gd name="connsiteX17" fmla="*/ 8425383 w 10882957"/>
                <a:gd name="connsiteY17" fmla="*/ 10729290 h 11070708"/>
                <a:gd name="connsiteX18" fmla="*/ 6655710 w 10882957"/>
                <a:gd name="connsiteY18" fmla="*/ 10791196 h 11070708"/>
                <a:gd name="connsiteX19" fmla="*/ 5209433 w 10882957"/>
                <a:gd name="connsiteY19" fmla="*/ 10216285 h 11070708"/>
                <a:gd name="connsiteX20" fmla="*/ 4278172 w 10882957"/>
                <a:gd name="connsiteY20" fmla="*/ 9047920 h 11070708"/>
                <a:gd name="connsiteX21" fmla="*/ 0 w 10882957"/>
                <a:gd name="connsiteY21" fmla="*/ 0 h 11070708"/>
                <a:gd name="connsiteX22" fmla="*/ 29296 w 10882957"/>
                <a:gd name="connsiteY22" fmla="*/ 590651 h 11070708"/>
                <a:gd name="connsiteX23" fmla="*/ 4056269 w 10882957"/>
                <a:gd name="connsiteY23" fmla="*/ 9447119 h 11070708"/>
                <a:gd name="connsiteX24" fmla="*/ 5148356 w 10882957"/>
                <a:gd name="connsiteY24" fmla="*/ 10469331 h 11070708"/>
                <a:gd name="connsiteX25" fmla="*/ 6644613 w 10882957"/>
                <a:gd name="connsiteY25" fmla="*/ 11014461 h 11070708"/>
                <a:gd name="connsiteX26" fmla="*/ 8515178 w 10882957"/>
                <a:gd name="connsiteY26" fmla="*/ 10954661 h 11070708"/>
                <a:gd name="connsiteX27" fmla="*/ 10015263 w 10882957"/>
                <a:gd name="connsiteY27" fmla="*/ 10141763 h 11070708"/>
                <a:gd name="connsiteX28" fmla="*/ 10876067 w 10882957"/>
                <a:gd name="connsiteY28" fmla="*/ 8997049 h 11070708"/>
                <a:gd name="connsiteX29" fmla="*/ 10409962 w 10882957"/>
                <a:gd name="connsiteY29" fmla="*/ 7887791 h 11070708"/>
                <a:gd name="connsiteX30" fmla="*/ 9913490 w 10882957"/>
                <a:gd name="connsiteY30" fmla="*/ 6874626 h 11070708"/>
                <a:gd name="connsiteX31" fmla="*/ 8833476 w 10882957"/>
                <a:gd name="connsiteY31" fmla="*/ 5483107 h 11070708"/>
                <a:gd name="connsiteX32" fmla="*/ 4958141 w 10882957"/>
                <a:gd name="connsiteY32" fmla="*/ 1548532 h 11070708"/>
                <a:gd name="connsiteX33" fmla="*/ 4039132 w 10882957"/>
                <a:gd name="connsiteY33" fmla="*/ 855362 h 11070708"/>
                <a:gd name="connsiteX34" fmla="*/ 3921251 w 10882957"/>
                <a:gd name="connsiteY34" fmla="*/ 953435 h 11070708"/>
                <a:gd name="connsiteX0" fmla="*/ 3921251 w 10882955"/>
                <a:gd name="connsiteY0" fmla="*/ 953435 h 11070708"/>
                <a:gd name="connsiteX1" fmla="*/ 4550508 w 10882955"/>
                <a:gd name="connsiteY1" fmla="*/ 1650552 h 11070708"/>
                <a:gd name="connsiteX2" fmla="*/ 4377174 w 10882955"/>
                <a:gd name="connsiteY2" fmla="*/ 1727914 h 11070708"/>
                <a:gd name="connsiteX3" fmla="*/ 5776268 w 10882955"/>
                <a:gd name="connsiteY3" fmla="*/ 3313931 h 11070708"/>
                <a:gd name="connsiteX4" fmla="*/ 6048935 w 10882955"/>
                <a:gd name="connsiteY4" fmla="*/ 3635999 h 11070708"/>
                <a:gd name="connsiteX5" fmla="*/ 3976192 w 10882955"/>
                <a:gd name="connsiteY5" fmla="*/ 4479470 h 11070708"/>
                <a:gd name="connsiteX6" fmla="*/ 4091110 w 10882955"/>
                <a:gd name="connsiteY6" fmla="*/ 4752697 h 11070708"/>
                <a:gd name="connsiteX7" fmla="*/ 4769078 w 10882955"/>
                <a:gd name="connsiteY7" fmla="*/ 4472697 h 11070708"/>
                <a:gd name="connsiteX8" fmla="*/ 5088839 w 10882955"/>
                <a:gd name="connsiteY8" fmla="*/ 4987820 h 11070708"/>
                <a:gd name="connsiteX9" fmla="*/ 6719057 w 10882955"/>
                <a:gd name="connsiteY9" fmla="*/ 4290975 h 11070708"/>
                <a:gd name="connsiteX10" fmla="*/ 7787095 w 10882955"/>
                <a:gd name="connsiteY10" fmla="*/ 5458935 h 11070708"/>
                <a:gd name="connsiteX11" fmla="*/ 8103044 w 10882955"/>
                <a:gd name="connsiteY11" fmla="*/ 5257807 h 11070708"/>
                <a:gd name="connsiteX12" fmla="*/ 9335618 w 10882955"/>
                <a:gd name="connsiteY12" fmla="*/ 6527006 h 11070708"/>
                <a:gd name="connsiteX13" fmla="*/ 9901967 w 10882955"/>
                <a:gd name="connsiteY13" fmla="*/ 7067771 h 11070708"/>
                <a:gd name="connsiteX14" fmla="*/ 10305946 w 10882955"/>
                <a:gd name="connsiteY14" fmla="*/ 7975025 h 11070708"/>
                <a:gd name="connsiteX15" fmla="*/ 10232728 w 10882955"/>
                <a:gd name="connsiteY15" fmla="*/ 9072677 h 11070708"/>
                <a:gd name="connsiteX16" fmla="*/ 9833571 w 10882955"/>
                <a:gd name="connsiteY16" fmla="*/ 9993815 h 11070708"/>
                <a:gd name="connsiteX17" fmla="*/ 8425383 w 10882955"/>
                <a:gd name="connsiteY17" fmla="*/ 10729290 h 11070708"/>
                <a:gd name="connsiteX18" fmla="*/ 6655710 w 10882955"/>
                <a:gd name="connsiteY18" fmla="*/ 10791196 h 11070708"/>
                <a:gd name="connsiteX19" fmla="*/ 5209433 w 10882955"/>
                <a:gd name="connsiteY19" fmla="*/ 10216285 h 11070708"/>
                <a:gd name="connsiteX20" fmla="*/ 4278172 w 10882955"/>
                <a:gd name="connsiteY20" fmla="*/ 9047920 h 11070708"/>
                <a:gd name="connsiteX21" fmla="*/ 0 w 10882955"/>
                <a:gd name="connsiteY21" fmla="*/ 0 h 11070708"/>
                <a:gd name="connsiteX22" fmla="*/ 29296 w 10882955"/>
                <a:gd name="connsiteY22" fmla="*/ 590651 h 11070708"/>
                <a:gd name="connsiteX23" fmla="*/ 4056269 w 10882955"/>
                <a:gd name="connsiteY23" fmla="*/ 9447119 h 11070708"/>
                <a:gd name="connsiteX24" fmla="*/ 5148356 w 10882955"/>
                <a:gd name="connsiteY24" fmla="*/ 10469331 h 11070708"/>
                <a:gd name="connsiteX25" fmla="*/ 6644613 w 10882955"/>
                <a:gd name="connsiteY25" fmla="*/ 11014461 h 11070708"/>
                <a:gd name="connsiteX26" fmla="*/ 8515178 w 10882955"/>
                <a:gd name="connsiteY26" fmla="*/ 10954661 h 11070708"/>
                <a:gd name="connsiteX27" fmla="*/ 10015263 w 10882955"/>
                <a:gd name="connsiteY27" fmla="*/ 10141763 h 11070708"/>
                <a:gd name="connsiteX28" fmla="*/ 10876067 w 10882955"/>
                <a:gd name="connsiteY28" fmla="*/ 8997049 h 11070708"/>
                <a:gd name="connsiteX29" fmla="*/ 10409962 w 10882955"/>
                <a:gd name="connsiteY29" fmla="*/ 7887791 h 11070708"/>
                <a:gd name="connsiteX30" fmla="*/ 9913490 w 10882955"/>
                <a:gd name="connsiteY30" fmla="*/ 6874626 h 11070708"/>
                <a:gd name="connsiteX31" fmla="*/ 8833476 w 10882955"/>
                <a:gd name="connsiteY31" fmla="*/ 5483107 h 11070708"/>
                <a:gd name="connsiteX32" fmla="*/ 4958141 w 10882955"/>
                <a:gd name="connsiteY32" fmla="*/ 1548532 h 11070708"/>
                <a:gd name="connsiteX33" fmla="*/ 4039132 w 10882955"/>
                <a:gd name="connsiteY33" fmla="*/ 855362 h 11070708"/>
                <a:gd name="connsiteX34" fmla="*/ 3921251 w 10882955"/>
                <a:gd name="connsiteY34" fmla="*/ 953435 h 11070708"/>
                <a:gd name="connsiteX0" fmla="*/ 3921251 w 10470754"/>
                <a:gd name="connsiteY0" fmla="*/ 953435 h 11070708"/>
                <a:gd name="connsiteX1" fmla="*/ 4550508 w 10470754"/>
                <a:gd name="connsiteY1" fmla="*/ 1650552 h 11070708"/>
                <a:gd name="connsiteX2" fmla="*/ 4377174 w 10470754"/>
                <a:gd name="connsiteY2" fmla="*/ 1727914 h 11070708"/>
                <a:gd name="connsiteX3" fmla="*/ 5776268 w 10470754"/>
                <a:gd name="connsiteY3" fmla="*/ 3313931 h 11070708"/>
                <a:gd name="connsiteX4" fmla="*/ 6048935 w 10470754"/>
                <a:gd name="connsiteY4" fmla="*/ 3635999 h 11070708"/>
                <a:gd name="connsiteX5" fmla="*/ 3976192 w 10470754"/>
                <a:gd name="connsiteY5" fmla="*/ 4479470 h 11070708"/>
                <a:gd name="connsiteX6" fmla="*/ 4091110 w 10470754"/>
                <a:gd name="connsiteY6" fmla="*/ 4752697 h 11070708"/>
                <a:gd name="connsiteX7" fmla="*/ 4769078 w 10470754"/>
                <a:gd name="connsiteY7" fmla="*/ 4472697 h 11070708"/>
                <a:gd name="connsiteX8" fmla="*/ 5088839 w 10470754"/>
                <a:gd name="connsiteY8" fmla="*/ 4987820 h 11070708"/>
                <a:gd name="connsiteX9" fmla="*/ 6719057 w 10470754"/>
                <a:gd name="connsiteY9" fmla="*/ 4290975 h 11070708"/>
                <a:gd name="connsiteX10" fmla="*/ 7787095 w 10470754"/>
                <a:gd name="connsiteY10" fmla="*/ 5458935 h 11070708"/>
                <a:gd name="connsiteX11" fmla="*/ 8103044 w 10470754"/>
                <a:gd name="connsiteY11" fmla="*/ 5257807 h 11070708"/>
                <a:gd name="connsiteX12" fmla="*/ 9335618 w 10470754"/>
                <a:gd name="connsiteY12" fmla="*/ 6527006 h 11070708"/>
                <a:gd name="connsiteX13" fmla="*/ 9901967 w 10470754"/>
                <a:gd name="connsiteY13" fmla="*/ 7067771 h 11070708"/>
                <a:gd name="connsiteX14" fmla="*/ 10305946 w 10470754"/>
                <a:gd name="connsiteY14" fmla="*/ 7975025 h 11070708"/>
                <a:gd name="connsiteX15" fmla="*/ 10232728 w 10470754"/>
                <a:gd name="connsiteY15" fmla="*/ 9072677 h 11070708"/>
                <a:gd name="connsiteX16" fmla="*/ 9833571 w 10470754"/>
                <a:gd name="connsiteY16" fmla="*/ 9993815 h 11070708"/>
                <a:gd name="connsiteX17" fmla="*/ 8425383 w 10470754"/>
                <a:gd name="connsiteY17" fmla="*/ 10729290 h 11070708"/>
                <a:gd name="connsiteX18" fmla="*/ 6655710 w 10470754"/>
                <a:gd name="connsiteY18" fmla="*/ 10791196 h 11070708"/>
                <a:gd name="connsiteX19" fmla="*/ 5209433 w 10470754"/>
                <a:gd name="connsiteY19" fmla="*/ 10216285 h 11070708"/>
                <a:gd name="connsiteX20" fmla="*/ 4278172 w 10470754"/>
                <a:gd name="connsiteY20" fmla="*/ 9047920 h 11070708"/>
                <a:gd name="connsiteX21" fmla="*/ 0 w 10470754"/>
                <a:gd name="connsiteY21" fmla="*/ 0 h 11070708"/>
                <a:gd name="connsiteX22" fmla="*/ 29296 w 10470754"/>
                <a:gd name="connsiteY22" fmla="*/ 590651 h 11070708"/>
                <a:gd name="connsiteX23" fmla="*/ 4056269 w 10470754"/>
                <a:gd name="connsiteY23" fmla="*/ 9447119 h 11070708"/>
                <a:gd name="connsiteX24" fmla="*/ 5148356 w 10470754"/>
                <a:gd name="connsiteY24" fmla="*/ 10469331 h 11070708"/>
                <a:gd name="connsiteX25" fmla="*/ 6644613 w 10470754"/>
                <a:gd name="connsiteY25" fmla="*/ 11014461 h 11070708"/>
                <a:gd name="connsiteX26" fmla="*/ 8515178 w 10470754"/>
                <a:gd name="connsiteY26" fmla="*/ 10954661 h 11070708"/>
                <a:gd name="connsiteX27" fmla="*/ 10015263 w 10470754"/>
                <a:gd name="connsiteY27" fmla="*/ 10141763 h 11070708"/>
                <a:gd name="connsiteX28" fmla="*/ 10396727 w 10470754"/>
                <a:gd name="connsiteY28" fmla="*/ 9153458 h 11070708"/>
                <a:gd name="connsiteX29" fmla="*/ 10409962 w 10470754"/>
                <a:gd name="connsiteY29" fmla="*/ 7887791 h 11070708"/>
                <a:gd name="connsiteX30" fmla="*/ 9913490 w 10470754"/>
                <a:gd name="connsiteY30" fmla="*/ 6874626 h 11070708"/>
                <a:gd name="connsiteX31" fmla="*/ 8833476 w 10470754"/>
                <a:gd name="connsiteY31" fmla="*/ 5483107 h 11070708"/>
                <a:gd name="connsiteX32" fmla="*/ 4958141 w 10470754"/>
                <a:gd name="connsiteY32" fmla="*/ 1548532 h 11070708"/>
                <a:gd name="connsiteX33" fmla="*/ 4039132 w 10470754"/>
                <a:gd name="connsiteY33" fmla="*/ 855362 h 11070708"/>
                <a:gd name="connsiteX34" fmla="*/ 3921251 w 10470754"/>
                <a:gd name="connsiteY34" fmla="*/ 953435 h 11070708"/>
                <a:gd name="connsiteX0" fmla="*/ 3921251 w 10470756"/>
                <a:gd name="connsiteY0" fmla="*/ 953435 h 11070708"/>
                <a:gd name="connsiteX1" fmla="*/ 4550508 w 10470756"/>
                <a:gd name="connsiteY1" fmla="*/ 1650552 h 11070708"/>
                <a:gd name="connsiteX2" fmla="*/ 4377174 w 10470756"/>
                <a:gd name="connsiteY2" fmla="*/ 1727914 h 11070708"/>
                <a:gd name="connsiteX3" fmla="*/ 5776268 w 10470756"/>
                <a:gd name="connsiteY3" fmla="*/ 3313931 h 11070708"/>
                <a:gd name="connsiteX4" fmla="*/ 6048935 w 10470756"/>
                <a:gd name="connsiteY4" fmla="*/ 3635999 h 11070708"/>
                <a:gd name="connsiteX5" fmla="*/ 3976192 w 10470756"/>
                <a:gd name="connsiteY5" fmla="*/ 4479470 h 11070708"/>
                <a:gd name="connsiteX6" fmla="*/ 4091110 w 10470756"/>
                <a:gd name="connsiteY6" fmla="*/ 4752697 h 11070708"/>
                <a:gd name="connsiteX7" fmla="*/ 4769078 w 10470756"/>
                <a:gd name="connsiteY7" fmla="*/ 4472697 h 11070708"/>
                <a:gd name="connsiteX8" fmla="*/ 5088839 w 10470756"/>
                <a:gd name="connsiteY8" fmla="*/ 4987820 h 11070708"/>
                <a:gd name="connsiteX9" fmla="*/ 6719057 w 10470756"/>
                <a:gd name="connsiteY9" fmla="*/ 4290975 h 11070708"/>
                <a:gd name="connsiteX10" fmla="*/ 7787095 w 10470756"/>
                <a:gd name="connsiteY10" fmla="*/ 5458935 h 11070708"/>
                <a:gd name="connsiteX11" fmla="*/ 8103044 w 10470756"/>
                <a:gd name="connsiteY11" fmla="*/ 5257807 h 11070708"/>
                <a:gd name="connsiteX12" fmla="*/ 9335618 w 10470756"/>
                <a:gd name="connsiteY12" fmla="*/ 6527006 h 11070708"/>
                <a:gd name="connsiteX13" fmla="*/ 9901967 w 10470756"/>
                <a:gd name="connsiteY13" fmla="*/ 7067771 h 11070708"/>
                <a:gd name="connsiteX14" fmla="*/ 10305946 w 10470756"/>
                <a:gd name="connsiteY14" fmla="*/ 7975025 h 11070708"/>
                <a:gd name="connsiteX15" fmla="*/ 10232728 w 10470756"/>
                <a:gd name="connsiteY15" fmla="*/ 9072677 h 11070708"/>
                <a:gd name="connsiteX16" fmla="*/ 9666845 w 10470756"/>
                <a:gd name="connsiteY16" fmla="*/ 10072017 h 11070708"/>
                <a:gd name="connsiteX17" fmla="*/ 8425383 w 10470756"/>
                <a:gd name="connsiteY17" fmla="*/ 10729290 h 11070708"/>
                <a:gd name="connsiteX18" fmla="*/ 6655710 w 10470756"/>
                <a:gd name="connsiteY18" fmla="*/ 10791196 h 11070708"/>
                <a:gd name="connsiteX19" fmla="*/ 5209433 w 10470756"/>
                <a:gd name="connsiteY19" fmla="*/ 10216285 h 11070708"/>
                <a:gd name="connsiteX20" fmla="*/ 4278172 w 10470756"/>
                <a:gd name="connsiteY20" fmla="*/ 9047920 h 11070708"/>
                <a:gd name="connsiteX21" fmla="*/ 0 w 10470756"/>
                <a:gd name="connsiteY21" fmla="*/ 0 h 11070708"/>
                <a:gd name="connsiteX22" fmla="*/ 29296 w 10470756"/>
                <a:gd name="connsiteY22" fmla="*/ 590651 h 11070708"/>
                <a:gd name="connsiteX23" fmla="*/ 4056269 w 10470756"/>
                <a:gd name="connsiteY23" fmla="*/ 9447119 h 11070708"/>
                <a:gd name="connsiteX24" fmla="*/ 5148356 w 10470756"/>
                <a:gd name="connsiteY24" fmla="*/ 10469331 h 11070708"/>
                <a:gd name="connsiteX25" fmla="*/ 6644613 w 10470756"/>
                <a:gd name="connsiteY25" fmla="*/ 11014461 h 11070708"/>
                <a:gd name="connsiteX26" fmla="*/ 8515178 w 10470756"/>
                <a:gd name="connsiteY26" fmla="*/ 10954661 h 11070708"/>
                <a:gd name="connsiteX27" fmla="*/ 10015263 w 10470756"/>
                <a:gd name="connsiteY27" fmla="*/ 10141763 h 11070708"/>
                <a:gd name="connsiteX28" fmla="*/ 10396727 w 10470756"/>
                <a:gd name="connsiteY28" fmla="*/ 9153458 h 11070708"/>
                <a:gd name="connsiteX29" fmla="*/ 10409962 w 10470756"/>
                <a:gd name="connsiteY29" fmla="*/ 7887791 h 11070708"/>
                <a:gd name="connsiteX30" fmla="*/ 9913490 w 10470756"/>
                <a:gd name="connsiteY30" fmla="*/ 6874626 h 11070708"/>
                <a:gd name="connsiteX31" fmla="*/ 8833476 w 10470756"/>
                <a:gd name="connsiteY31" fmla="*/ 5483107 h 11070708"/>
                <a:gd name="connsiteX32" fmla="*/ 4958141 w 10470756"/>
                <a:gd name="connsiteY32" fmla="*/ 1548532 h 11070708"/>
                <a:gd name="connsiteX33" fmla="*/ 4039132 w 10470756"/>
                <a:gd name="connsiteY33" fmla="*/ 855362 h 11070708"/>
                <a:gd name="connsiteX34" fmla="*/ 3921251 w 10470756"/>
                <a:gd name="connsiteY34" fmla="*/ 953435 h 11070708"/>
                <a:gd name="connsiteX0" fmla="*/ 3921251 w 10486347"/>
                <a:gd name="connsiteY0" fmla="*/ 953435 h 11063679"/>
                <a:gd name="connsiteX1" fmla="*/ 4550508 w 10486347"/>
                <a:gd name="connsiteY1" fmla="*/ 1650552 h 11063679"/>
                <a:gd name="connsiteX2" fmla="*/ 4377174 w 10486347"/>
                <a:gd name="connsiteY2" fmla="*/ 1727914 h 11063679"/>
                <a:gd name="connsiteX3" fmla="*/ 5776268 w 10486347"/>
                <a:gd name="connsiteY3" fmla="*/ 3313931 h 11063679"/>
                <a:gd name="connsiteX4" fmla="*/ 6048935 w 10486347"/>
                <a:gd name="connsiteY4" fmla="*/ 3635999 h 11063679"/>
                <a:gd name="connsiteX5" fmla="*/ 3976192 w 10486347"/>
                <a:gd name="connsiteY5" fmla="*/ 4479470 h 11063679"/>
                <a:gd name="connsiteX6" fmla="*/ 4091110 w 10486347"/>
                <a:gd name="connsiteY6" fmla="*/ 4752697 h 11063679"/>
                <a:gd name="connsiteX7" fmla="*/ 4769078 w 10486347"/>
                <a:gd name="connsiteY7" fmla="*/ 4472697 h 11063679"/>
                <a:gd name="connsiteX8" fmla="*/ 5088839 w 10486347"/>
                <a:gd name="connsiteY8" fmla="*/ 4987820 h 11063679"/>
                <a:gd name="connsiteX9" fmla="*/ 6719057 w 10486347"/>
                <a:gd name="connsiteY9" fmla="*/ 4290975 h 11063679"/>
                <a:gd name="connsiteX10" fmla="*/ 7787095 w 10486347"/>
                <a:gd name="connsiteY10" fmla="*/ 5458935 h 11063679"/>
                <a:gd name="connsiteX11" fmla="*/ 8103044 w 10486347"/>
                <a:gd name="connsiteY11" fmla="*/ 5257807 h 11063679"/>
                <a:gd name="connsiteX12" fmla="*/ 9335618 w 10486347"/>
                <a:gd name="connsiteY12" fmla="*/ 6527006 h 11063679"/>
                <a:gd name="connsiteX13" fmla="*/ 9901967 w 10486347"/>
                <a:gd name="connsiteY13" fmla="*/ 7067771 h 11063679"/>
                <a:gd name="connsiteX14" fmla="*/ 10305946 w 10486347"/>
                <a:gd name="connsiteY14" fmla="*/ 7975025 h 11063679"/>
                <a:gd name="connsiteX15" fmla="*/ 10232728 w 10486347"/>
                <a:gd name="connsiteY15" fmla="*/ 9072677 h 11063679"/>
                <a:gd name="connsiteX16" fmla="*/ 9666845 w 10486347"/>
                <a:gd name="connsiteY16" fmla="*/ 10072017 h 11063679"/>
                <a:gd name="connsiteX17" fmla="*/ 8425383 w 10486347"/>
                <a:gd name="connsiteY17" fmla="*/ 10729290 h 11063679"/>
                <a:gd name="connsiteX18" fmla="*/ 6655710 w 10486347"/>
                <a:gd name="connsiteY18" fmla="*/ 10791196 h 11063679"/>
                <a:gd name="connsiteX19" fmla="*/ 5209433 w 10486347"/>
                <a:gd name="connsiteY19" fmla="*/ 10216285 h 11063679"/>
                <a:gd name="connsiteX20" fmla="*/ 4278172 w 10486347"/>
                <a:gd name="connsiteY20" fmla="*/ 9047920 h 11063679"/>
                <a:gd name="connsiteX21" fmla="*/ 0 w 10486347"/>
                <a:gd name="connsiteY21" fmla="*/ 0 h 11063679"/>
                <a:gd name="connsiteX22" fmla="*/ 29296 w 10486347"/>
                <a:gd name="connsiteY22" fmla="*/ 590651 h 11063679"/>
                <a:gd name="connsiteX23" fmla="*/ 4056269 w 10486347"/>
                <a:gd name="connsiteY23" fmla="*/ 9447119 h 11063679"/>
                <a:gd name="connsiteX24" fmla="*/ 5148356 w 10486347"/>
                <a:gd name="connsiteY24" fmla="*/ 10469331 h 11063679"/>
                <a:gd name="connsiteX25" fmla="*/ 6644613 w 10486347"/>
                <a:gd name="connsiteY25" fmla="*/ 11014461 h 11063679"/>
                <a:gd name="connsiteX26" fmla="*/ 8515178 w 10486347"/>
                <a:gd name="connsiteY26" fmla="*/ 10954661 h 11063679"/>
                <a:gd name="connsiteX27" fmla="*/ 9730436 w 10486347"/>
                <a:gd name="connsiteY27" fmla="*/ 10278619 h 11063679"/>
                <a:gd name="connsiteX28" fmla="*/ 10396727 w 10486347"/>
                <a:gd name="connsiteY28" fmla="*/ 9153458 h 11063679"/>
                <a:gd name="connsiteX29" fmla="*/ 10409962 w 10486347"/>
                <a:gd name="connsiteY29" fmla="*/ 7887791 h 11063679"/>
                <a:gd name="connsiteX30" fmla="*/ 9913490 w 10486347"/>
                <a:gd name="connsiteY30" fmla="*/ 6874626 h 11063679"/>
                <a:gd name="connsiteX31" fmla="*/ 8833476 w 10486347"/>
                <a:gd name="connsiteY31" fmla="*/ 5483107 h 11063679"/>
                <a:gd name="connsiteX32" fmla="*/ 4958141 w 10486347"/>
                <a:gd name="connsiteY32" fmla="*/ 1548532 h 11063679"/>
                <a:gd name="connsiteX33" fmla="*/ 4039132 w 10486347"/>
                <a:gd name="connsiteY33" fmla="*/ 855362 h 11063679"/>
                <a:gd name="connsiteX34" fmla="*/ 3921251 w 10486347"/>
                <a:gd name="connsiteY34" fmla="*/ 953435 h 11063679"/>
                <a:gd name="connsiteX0" fmla="*/ 3921251 w 10454805"/>
                <a:gd name="connsiteY0" fmla="*/ 953435 h 11063679"/>
                <a:gd name="connsiteX1" fmla="*/ 4550508 w 10454805"/>
                <a:gd name="connsiteY1" fmla="*/ 1650552 h 11063679"/>
                <a:gd name="connsiteX2" fmla="*/ 4377174 w 10454805"/>
                <a:gd name="connsiteY2" fmla="*/ 1727914 h 11063679"/>
                <a:gd name="connsiteX3" fmla="*/ 5776268 w 10454805"/>
                <a:gd name="connsiteY3" fmla="*/ 3313931 h 11063679"/>
                <a:gd name="connsiteX4" fmla="*/ 6048935 w 10454805"/>
                <a:gd name="connsiteY4" fmla="*/ 3635999 h 11063679"/>
                <a:gd name="connsiteX5" fmla="*/ 3976192 w 10454805"/>
                <a:gd name="connsiteY5" fmla="*/ 4479470 h 11063679"/>
                <a:gd name="connsiteX6" fmla="*/ 4091110 w 10454805"/>
                <a:gd name="connsiteY6" fmla="*/ 4752697 h 11063679"/>
                <a:gd name="connsiteX7" fmla="*/ 4769078 w 10454805"/>
                <a:gd name="connsiteY7" fmla="*/ 4472697 h 11063679"/>
                <a:gd name="connsiteX8" fmla="*/ 5088839 w 10454805"/>
                <a:gd name="connsiteY8" fmla="*/ 4987820 h 11063679"/>
                <a:gd name="connsiteX9" fmla="*/ 6719057 w 10454805"/>
                <a:gd name="connsiteY9" fmla="*/ 4290975 h 11063679"/>
                <a:gd name="connsiteX10" fmla="*/ 7787095 w 10454805"/>
                <a:gd name="connsiteY10" fmla="*/ 5458935 h 11063679"/>
                <a:gd name="connsiteX11" fmla="*/ 8103044 w 10454805"/>
                <a:gd name="connsiteY11" fmla="*/ 5257807 h 11063679"/>
                <a:gd name="connsiteX12" fmla="*/ 9335618 w 10454805"/>
                <a:gd name="connsiteY12" fmla="*/ 6527006 h 11063679"/>
                <a:gd name="connsiteX13" fmla="*/ 9901967 w 10454805"/>
                <a:gd name="connsiteY13" fmla="*/ 7067771 h 11063679"/>
                <a:gd name="connsiteX14" fmla="*/ 10305946 w 10454805"/>
                <a:gd name="connsiteY14" fmla="*/ 7975025 h 11063679"/>
                <a:gd name="connsiteX15" fmla="*/ 10232728 w 10454805"/>
                <a:gd name="connsiteY15" fmla="*/ 9072677 h 11063679"/>
                <a:gd name="connsiteX16" fmla="*/ 9666845 w 10454805"/>
                <a:gd name="connsiteY16" fmla="*/ 10072017 h 11063679"/>
                <a:gd name="connsiteX17" fmla="*/ 8425383 w 10454805"/>
                <a:gd name="connsiteY17" fmla="*/ 10729290 h 11063679"/>
                <a:gd name="connsiteX18" fmla="*/ 6655710 w 10454805"/>
                <a:gd name="connsiteY18" fmla="*/ 10791196 h 11063679"/>
                <a:gd name="connsiteX19" fmla="*/ 5209433 w 10454805"/>
                <a:gd name="connsiteY19" fmla="*/ 10216285 h 11063679"/>
                <a:gd name="connsiteX20" fmla="*/ 4278172 w 10454805"/>
                <a:gd name="connsiteY20" fmla="*/ 9047920 h 11063679"/>
                <a:gd name="connsiteX21" fmla="*/ 0 w 10454805"/>
                <a:gd name="connsiteY21" fmla="*/ 0 h 11063679"/>
                <a:gd name="connsiteX22" fmla="*/ 29296 w 10454805"/>
                <a:gd name="connsiteY22" fmla="*/ 590651 h 11063679"/>
                <a:gd name="connsiteX23" fmla="*/ 4056269 w 10454805"/>
                <a:gd name="connsiteY23" fmla="*/ 9447119 h 11063679"/>
                <a:gd name="connsiteX24" fmla="*/ 5148356 w 10454805"/>
                <a:gd name="connsiteY24" fmla="*/ 10469331 h 11063679"/>
                <a:gd name="connsiteX25" fmla="*/ 6644613 w 10454805"/>
                <a:gd name="connsiteY25" fmla="*/ 11014461 h 11063679"/>
                <a:gd name="connsiteX26" fmla="*/ 8515178 w 10454805"/>
                <a:gd name="connsiteY26" fmla="*/ 10954661 h 11063679"/>
                <a:gd name="connsiteX27" fmla="*/ 9730436 w 10454805"/>
                <a:gd name="connsiteY27" fmla="*/ 10278619 h 11063679"/>
                <a:gd name="connsiteX28" fmla="*/ 10396727 w 10454805"/>
                <a:gd name="connsiteY28" fmla="*/ 9153458 h 11063679"/>
                <a:gd name="connsiteX29" fmla="*/ 10347438 w 10454805"/>
                <a:gd name="connsiteY29" fmla="*/ 7662953 h 11063679"/>
                <a:gd name="connsiteX30" fmla="*/ 9913490 w 10454805"/>
                <a:gd name="connsiteY30" fmla="*/ 6874626 h 11063679"/>
                <a:gd name="connsiteX31" fmla="*/ 8833476 w 10454805"/>
                <a:gd name="connsiteY31" fmla="*/ 5483107 h 11063679"/>
                <a:gd name="connsiteX32" fmla="*/ 4958141 w 10454805"/>
                <a:gd name="connsiteY32" fmla="*/ 1548532 h 11063679"/>
                <a:gd name="connsiteX33" fmla="*/ 4039132 w 10454805"/>
                <a:gd name="connsiteY33" fmla="*/ 855362 h 11063679"/>
                <a:gd name="connsiteX34" fmla="*/ 3921251 w 10454805"/>
                <a:gd name="connsiteY34" fmla="*/ 953435 h 11063679"/>
                <a:gd name="connsiteX0" fmla="*/ 3921251 w 10494875"/>
                <a:gd name="connsiteY0" fmla="*/ 953435 h 11063679"/>
                <a:gd name="connsiteX1" fmla="*/ 4550508 w 10494875"/>
                <a:gd name="connsiteY1" fmla="*/ 1650552 h 11063679"/>
                <a:gd name="connsiteX2" fmla="*/ 4377174 w 10494875"/>
                <a:gd name="connsiteY2" fmla="*/ 1727914 h 11063679"/>
                <a:gd name="connsiteX3" fmla="*/ 5776268 w 10494875"/>
                <a:gd name="connsiteY3" fmla="*/ 3313931 h 11063679"/>
                <a:gd name="connsiteX4" fmla="*/ 6048935 w 10494875"/>
                <a:gd name="connsiteY4" fmla="*/ 3635999 h 11063679"/>
                <a:gd name="connsiteX5" fmla="*/ 3976192 w 10494875"/>
                <a:gd name="connsiteY5" fmla="*/ 4479470 h 11063679"/>
                <a:gd name="connsiteX6" fmla="*/ 4091110 w 10494875"/>
                <a:gd name="connsiteY6" fmla="*/ 4752697 h 11063679"/>
                <a:gd name="connsiteX7" fmla="*/ 4769078 w 10494875"/>
                <a:gd name="connsiteY7" fmla="*/ 4472697 h 11063679"/>
                <a:gd name="connsiteX8" fmla="*/ 5088839 w 10494875"/>
                <a:gd name="connsiteY8" fmla="*/ 4987820 h 11063679"/>
                <a:gd name="connsiteX9" fmla="*/ 6719057 w 10494875"/>
                <a:gd name="connsiteY9" fmla="*/ 4290975 h 11063679"/>
                <a:gd name="connsiteX10" fmla="*/ 7787095 w 10494875"/>
                <a:gd name="connsiteY10" fmla="*/ 5458935 h 11063679"/>
                <a:gd name="connsiteX11" fmla="*/ 8103044 w 10494875"/>
                <a:gd name="connsiteY11" fmla="*/ 5257807 h 11063679"/>
                <a:gd name="connsiteX12" fmla="*/ 9335618 w 10494875"/>
                <a:gd name="connsiteY12" fmla="*/ 6527006 h 11063679"/>
                <a:gd name="connsiteX13" fmla="*/ 9901967 w 10494875"/>
                <a:gd name="connsiteY13" fmla="*/ 7067771 h 11063679"/>
                <a:gd name="connsiteX14" fmla="*/ 10305946 w 10494875"/>
                <a:gd name="connsiteY14" fmla="*/ 7975025 h 11063679"/>
                <a:gd name="connsiteX15" fmla="*/ 10232728 w 10494875"/>
                <a:gd name="connsiteY15" fmla="*/ 9072677 h 11063679"/>
                <a:gd name="connsiteX16" fmla="*/ 9666845 w 10494875"/>
                <a:gd name="connsiteY16" fmla="*/ 10072017 h 11063679"/>
                <a:gd name="connsiteX17" fmla="*/ 8425383 w 10494875"/>
                <a:gd name="connsiteY17" fmla="*/ 10729290 h 11063679"/>
                <a:gd name="connsiteX18" fmla="*/ 6655710 w 10494875"/>
                <a:gd name="connsiteY18" fmla="*/ 10791196 h 11063679"/>
                <a:gd name="connsiteX19" fmla="*/ 5209433 w 10494875"/>
                <a:gd name="connsiteY19" fmla="*/ 10216285 h 11063679"/>
                <a:gd name="connsiteX20" fmla="*/ 4278172 w 10494875"/>
                <a:gd name="connsiteY20" fmla="*/ 9047920 h 11063679"/>
                <a:gd name="connsiteX21" fmla="*/ 0 w 10494875"/>
                <a:gd name="connsiteY21" fmla="*/ 0 h 11063679"/>
                <a:gd name="connsiteX22" fmla="*/ 29296 w 10494875"/>
                <a:gd name="connsiteY22" fmla="*/ 590651 h 11063679"/>
                <a:gd name="connsiteX23" fmla="*/ 4056269 w 10494875"/>
                <a:gd name="connsiteY23" fmla="*/ 9447119 h 11063679"/>
                <a:gd name="connsiteX24" fmla="*/ 5148356 w 10494875"/>
                <a:gd name="connsiteY24" fmla="*/ 10469331 h 11063679"/>
                <a:gd name="connsiteX25" fmla="*/ 6644613 w 10494875"/>
                <a:gd name="connsiteY25" fmla="*/ 11014461 h 11063679"/>
                <a:gd name="connsiteX26" fmla="*/ 8515178 w 10494875"/>
                <a:gd name="connsiteY26" fmla="*/ 10954661 h 11063679"/>
                <a:gd name="connsiteX27" fmla="*/ 9730436 w 10494875"/>
                <a:gd name="connsiteY27" fmla="*/ 10278619 h 11063679"/>
                <a:gd name="connsiteX28" fmla="*/ 10396727 w 10494875"/>
                <a:gd name="connsiteY28" fmla="*/ 9153458 h 11063679"/>
                <a:gd name="connsiteX29" fmla="*/ 10423855 w 10494875"/>
                <a:gd name="connsiteY29" fmla="*/ 7936668 h 11063679"/>
                <a:gd name="connsiteX30" fmla="*/ 9913490 w 10494875"/>
                <a:gd name="connsiteY30" fmla="*/ 6874626 h 11063679"/>
                <a:gd name="connsiteX31" fmla="*/ 8833476 w 10494875"/>
                <a:gd name="connsiteY31" fmla="*/ 5483107 h 11063679"/>
                <a:gd name="connsiteX32" fmla="*/ 4958141 w 10494875"/>
                <a:gd name="connsiteY32" fmla="*/ 1548532 h 11063679"/>
                <a:gd name="connsiteX33" fmla="*/ 4039132 w 10494875"/>
                <a:gd name="connsiteY33" fmla="*/ 855362 h 11063679"/>
                <a:gd name="connsiteX34" fmla="*/ 3921251 w 10494875"/>
                <a:gd name="connsiteY34" fmla="*/ 953435 h 11063679"/>
                <a:gd name="connsiteX0" fmla="*/ 3921251 w 10494875"/>
                <a:gd name="connsiteY0" fmla="*/ 953435 h 11063679"/>
                <a:gd name="connsiteX1" fmla="*/ 4550508 w 10494875"/>
                <a:gd name="connsiteY1" fmla="*/ 1650552 h 11063679"/>
                <a:gd name="connsiteX2" fmla="*/ 4377174 w 10494875"/>
                <a:gd name="connsiteY2" fmla="*/ 1727914 h 11063679"/>
                <a:gd name="connsiteX3" fmla="*/ 5776268 w 10494875"/>
                <a:gd name="connsiteY3" fmla="*/ 3313931 h 11063679"/>
                <a:gd name="connsiteX4" fmla="*/ 6048935 w 10494875"/>
                <a:gd name="connsiteY4" fmla="*/ 3635999 h 11063679"/>
                <a:gd name="connsiteX5" fmla="*/ 3976192 w 10494875"/>
                <a:gd name="connsiteY5" fmla="*/ 4479470 h 11063679"/>
                <a:gd name="connsiteX6" fmla="*/ 4091110 w 10494875"/>
                <a:gd name="connsiteY6" fmla="*/ 4752697 h 11063679"/>
                <a:gd name="connsiteX7" fmla="*/ 4769078 w 10494875"/>
                <a:gd name="connsiteY7" fmla="*/ 4472697 h 11063679"/>
                <a:gd name="connsiteX8" fmla="*/ 5088839 w 10494875"/>
                <a:gd name="connsiteY8" fmla="*/ 4987820 h 11063679"/>
                <a:gd name="connsiteX9" fmla="*/ 6719057 w 10494875"/>
                <a:gd name="connsiteY9" fmla="*/ 4290975 h 11063679"/>
                <a:gd name="connsiteX10" fmla="*/ 7787095 w 10494875"/>
                <a:gd name="connsiteY10" fmla="*/ 5458935 h 11063679"/>
                <a:gd name="connsiteX11" fmla="*/ 8103044 w 10494875"/>
                <a:gd name="connsiteY11" fmla="*/ 5257807 h 11063679"/>
                <a:gd name="connsiteX12" fmla="*/ 9335618 w 10494875"/>
                <a:gd name="connsiteY12" fmla="*/ 6527006 h 11063679"/>
                <a:gd name="connsiteX13" fmla="*/ 9901967 w 10494875"/>
                <a:gd name="connsiteY13" fmla="*/ 7067771 h 11063679"/>
                <a:gd name="connsiteX14" fmla="*/ 10271211 w 10494875"/>
                <a:gd name="connsiteY14" fmla="*/ 7984801 h 11063679"/>
                <a:gd name="connsiteX15" fmla="*/ 10232728 w 10494875"/>
                <a:gd name="connsiteY15" fmla="*/ 9072677 h 11063679"/>
                <a:gd name="connsiteX16" fmla="*/ 9666845 w 10494875"/>
                <a:gd name="connsiteY16" fmla="*/ 10072017 h 11063679"/>
                <a:gd name="connsiteX17" fmla="*/ 8425383 w 10494875"/>
                <a:gd name="connsiteY17" fmla="*/ 10729290 h 11063679"/>
                <a:gd name="connsiteX18" fmla="*/ 6655710 w 10494875"/>
                <a:gd name="connsiteY18" fmla="*/ 10791196 h 11063679"/>
                <a:gd name="connsiteX19" fmla="*/ 5209433 w 10494875"/>
                <a:gd name="connsiteY19" fmla="*/ 10216285 h 11063679"/>
                <a:gd name="connsiteX20" fmla="*/ 4278172 w 10494875"/>
                <a:gd name="connsiteY20" fmla="*/ 9047920 h 11063679"/>
                <a:gd name="connsiteX21" fmla="*/ 0 w 10494875"/>
                <a:gd name="connsiteY21" fmla="*/ 0 h 11063679"/>
                <a:gd name="connsiteX22" fmla="*/ 29296 w 10494875"/>
                <a:gd name="connsiteY22" fmla="*/ 590651 h 11063679"/>
                <a:gd name="connsiteX23" fmla="*/ 4056269 w 10494875"/>
                <a:gd name="connsiteY23" fmla="*/ 9447119 h 11063679"/>
                <a:gd name="connsiteX24" fmla="*/ 5148356 w 10494875"/>
                <a:gd name="connsiteY24" fmla="*/ 10469331 h 11063679"/>
                <a:gd name="connsiteX25" fmla="*/ 6644613 w 10494875"/>
                <a:gd name="connsiteY25" fmla="*/ 11014461 h 11063679"/>
                <a:gd name="connsiteX26" fmla="*/ 8515178 w 10494875"/>
                <a:gd name="connsiteY26" fmla="*/ 10954661 h 11063679"/>
                <a:gd name="connsiteX27" fmla="*/ 9730436 w 10494875"/>
                <a:gd name="connsiteY27" fmla="*/ 10278619 h 11063679"/>
                <a:gd name="connsiteX28" fmla="*/ 10396727 w 10494875"/>
                <a:gd name="connsiteY28" fmla="*/ 9153458 h 11063679"/>
                <a:gd name="connsiteX29" fmla="*/ 10423855 w 10494875"/>
                <a:gd name="connsiteY29" fmla="*/ 7936668 h 11063679"/>
                <a:gd name="connsiteX30" fmla="*/ 9913490 w 10494875"/>
                <a:gd name="connsiteY30" fmla="*/ 6874626 h 11063679"/>
                <a:gd name="connsiteX31" fmla="*/ 8833476 w 10494875"/>
                <a:gd name="connsiteY31" fmla="*/ 5483107 h 11063679"/>
                <a:gd name="connsiteX32" fmla="*/ 4958141 w 10494875"/>
                <a:gd name="connsiteY32" fmla="*/ 1548532 h 11063679"/>
                <a:gd name="connsiteX33" fmla="*/ 4039132 w 10494875"/>
                <a:gd name="connsiteY33" fmla="*/ 855362 h 11063679"/>
                <a:gd name="connsiteX34" fmla="*/ 3921251 w 10494875"/>
                <a:gd name="connsiteY34" fmla="*/ 953435 h 11063679"/>
                <a:gd name="connsiteX0" fmla="*/ 3921251 w 10494875"/>
                <a:gd name="connsiteY0" fmla="*/ 953435 h 11063679"/>
                <a:gd name="connsiteX1" fmla="*/ 4550508 w 10494875"/>
                <a:gd name="connsiteY1" fmla="*/ 1650552 h 11063679"/>
                <a:gd name="connsiteX2" fmla="*/ 4377174 w 10494875"/>
                <a:gd name="connsiteY2" fmla="*/ 1727914 h 11063679"/>
                <a:gd name="connsiteX3" fmla="*/ 5776268 w 10494875"/>
                <a:gd name="connsiteY3" fmla="*/ 3313931 h 11063679"/>
                <a:gd name="connsiteX4" fmla="*/ 6048935 w 10494875"/>
                <a:gd name="connsiteY4" fmla="*/ 3635999 h 11063679"/>
                <a:gd name="connsiteX5" fmla="*/ 3976192 w 10494875"/>
                <a:gd name="connsiteY5" fmla="*/ 4479470 h 11063679"/>
                <a:gd name="connsiteX6" fmla="*/ 4091110 w 10494875"/>
                <a:gd name="connsiteY6" fmla="*/ 4752697 h 11063679"/>
                <a:gd name="connsiteX7" fmla="*/ 4769078 w 10494875"/>
                <a:gd name="connsiteY7" fmla="*/ 4472697 h 11063679"/>
                <a:gd name="connsiteX8" fmla="*/ 5088839 w 10494875"/>
                <a:gd name="connsiteY8" fmla="*/ 4987820 h 11063679"/>
                <a:gd name="connsiteX9" fmla="*/ 6719057 w 10494875"/>
                <a:gd name="connsiteY9" fmla="*/ 4290975 h 11063679"/>
                <a:gd name="connsiteX10" fmla="*/ 7787095 w 10494875"/>
                <a:gd name="connsiteY10" fmla="*/ 5458935 h 11063679"/>
                <a:gd name="connsiteX11" fmla="*/ 8103044 w 10494875"/>
                <a:gd name="connsiteY11" fmla="*/ 5257807 h 11063679"/>
                <a:gd name="connsiteX12" fmla="*/ 9335618 w 10494875"/>
                <a:gd name="connsiteY12" fmla="*/ 6527006 h 11063679"/>
                <a:gd name="connsiteX13" fmla="*/ 9901967 w 10494875"/>
                <a:gd name="connsiteY13" fmla="*/ 7067771 h 11063679"/>
                <a:gd name="connsiteX14" fmla="*/ 10271211 w 10494875"/>
                <a:gd name="connsiteY14" fmla="*/ 7984801 h 11063679"/>
                <a:gd name="connsiteX15" fmla="*/ 10232728 w 10494875"/>
                <a:gd name="connsiteY15" fmla="*/ 9072677 h 11063679"/>
                <a:gd name="connsiteX16" fmla="*/ 9666845 w 10494875"/>
                <a:gd name="connsiteY16" fmla="*/ 10072017 h 11063679"/>
                <a:gd name="connsiteX17" fmla="*/ 8425383 w 10494875"/>
                <a:gd name="connsiteY17" fmla="*/ 10729290 h 11063679"/>
                <a:gd name="connsiteX18" fmla="*/ 6655710 w 10494875"/>
                <a:gd name="connsiteY18" fmla="*/ 10791196 h 11063679"/>
                <a:gd name="connsiteX19" fmla="*/ 5209433 w 10494875"/>
                <a:gd name="connsiteY19" fmla="*/ 10216285 h 11063679"/>
                <a:gd name="connsiteX20" fmla="*/ 4278172 w 10494875"/>
                <a:gd name="connsiteY20" fmla="*/ 9047920 h 11063679"/>
                <a:gd name="connsiteX21" fmla="*/ 0 w 10494875"/>
                <a:gd name="connsiteY21" fmla="*/ 0 h 11063679"/>
                <a:gd name="connsiteX22" fmla="*/ 29296 w 10494875"/>
                <a:gd name="connsiteY22" fmla="*/ 590651 h 11063679"/>
                <a:gd name="connsiteX23" fmla="*/ 4056269 w 10494875"/>
                <a:gd name="connsiteY23" fmla="*/ 9447119 h 11063679"/>
                <a:gd name="connsiteX24" fmla="*/ 5148356 w 10494875"/>
                <a:gd name="connsiteY24" fmla="*/ 10469331 h 11063679"/>
                <a:gd name="connsiteX25" fmla="*/ 6644613 w 10494875"/>
                <a:gd name="connsiteY25" fmla="*/ 11014461 h 11063679"/>
                <a:gd name="connsiteX26" fmla="*/ 8515178 w 10494875"/>
                <a:gd name="connsiteY26" fmla="*/ 10954661 h 11063679"/>
                <a:gd name="connsiteX27" fmla="*/ 9730436 w 10494875"/>
                <a:gd name="connsiteY27" fmla="*/ 10278619 h 11063679"/>
                <a:gd name="connsiteX28" fmla="*/ 10396727 w 10494875"/>
                <a:gd name="connsiteY28" fmla="*/ 9153458 h 11063679"/>
                <a:gd name="connsiteX29" fmla="*/ 10423855 w 10494875"/>
                <a:gd name="connsiteY29" fmla="*/ 7936668 h 11063679"/>
                <a:gd name="connsiteX30" fmla="*/ 10114953 w 10494875"/>
                <a:gd name="connsiteY30" fmla="*/ 7089688 h 11063679"/>
                <a:gd name="connsiteX31" fmla="*/ 8833476 w 10494875"/>
                <a:gd name="connsiteY31" fmla="*/ 5483107 h 11063679"/>
                <a:gd name="connsiteX32" fmla="*/ 4958141 w 10494875"/>
                <a:gd name="connsiteY32" fmla="*/ 1548532 h 11063679"/>
                <a:gd name="connsiteX33" fmla="*/ 4039132 w 10494875"/>
                <a:gd name="connsiteY33" fmla="*/ 855362 h 11063679"/>
                <a:gd name="connsiteX34" fmla="*/ 3921251 w 10494875"/>
                <a:gd name="connsiteY34" fmla="*/ 953435 h 11063679"/>
                <a:gd name="connsiteX0" fmla="*/ 3921251 w 10494875"/>
                <a:gd name="connsiteY0" fmla="*/ 953435 h 11063679"/>
                <a:gd name="connsiteX1" fmla="*/ 4550508 w 10494875"/>
                <a:gd name="connsiteY1" fmla="*/ 1650552 h 11063679"/>
                <a:gd name="connsiteX2" fmla="*/ 4377174 w 10494875"/>
                <a:gd name="connsiteY2" fmla="*/ 1727914 h 11063679"/>
                <a:gd name="connsiteX3" fmla="*/ 5776268 w 10494875"/>
                <a:gd name="connsiteY3" fmla="*/ 3313931 h 11063679"/>
                <a:gd name="connsiteX4" fmla="*/ 6048935 w 10494875"/>
                <a:gd name="connsiteY4" fmla="*/ 3635999 h 11063679"/>
                <a:gd name="connsiteX5" fmla="*/ 3976192 w 10494875"/>
                <a:gd name="connsiteY5" fmla="*/ 4479470 h 11063679"/>
                <a:gd name="connsiteX6" fmla="*/ 4091110 w 10494875"/>
                <a:gd name="connsiteY6" fmla="*/ 4752697 h 11063679"/>
                <a:gd name="connsiteX7" fmla="*/ 4769078 w 10494875"/>
                <a:gd name="connsiteY7" fmla="*/ 4472697 h 11063679"/>
                <a:gd name="connsiteX8" fmla="*/ 5088839 w 10494875"/>
                <a:gd name="connsiteY8" fmla="*/ 4987820 h 11063679"/>
                <a:gd name="connsiteX9" fmla="*/ 6719057 w 10494875"/>
                <a:gd name="connsiteY9" fmla="*/ 4290975 h 11063679"/>
                <a:gd name="connsiteX10" fmla="*/ 7787095 w 10494875"/>
                <a:gd name="connsiteY10" fmla="*/ 5458935 h 11063679"/>
                <a:gd name="connsiteX11" fmla="*/ 8103044 w 10494875"/>
                <a:gd name="connsiteY11" fmla="*/ 5257807 h 11063679"/>
                <a:gd name="connsiteX12" fmla="*/ 9335618 w 10494875"/>
                <a:gd name="connsiteY12" fmla="*/ 6527006 h 11063679"/>
                <a:gd name="connsiteX13" fmla="*/ 9901967 w 10494875"/>
                <a:gd name="connsiteY13" fmla="*/ 7067771 h 11063679"/>
                <a:gd name="connsiteX14" fmla="*/ 10271211 w 10494875"/>
                <a:gd name="connsiteY14" fmla="*/ 7984801 h 11063679"/>
                <a:gd name="connsiteX15" fmla="*/ 10232728 w 10494875"/>
                <a:gd name="connsiteY15" fmla="*/ 9072677 h 11063679"/>
                <a:gd name="connsiteX16" fmla="*/ 9666845 w 10494875"/>
                <a:gd name="connsiteY16" fmla="*/ 10072017 h 11063679"/>
                <a:gd name="connsiteX17" fmla="*/ 8425383 w 10494875"/>
                <a:gd name="connsiteY17" fmla="*/ 10729290 h 11063679"/>
                <a:gd name="connsiteX18" fmla="*/ 6655710 w 10494875"/>
                <a:gd name="connsiteY18" fmla="*/ 10791196 h 11063679"/>
                <a:gd name="connsiteX19" fmla="*/ 5209433 w 10494875"/>
                <a:gd name="connsiteY19" fmla="*/ 10216285 h 11063679"/>
                <a:gd name="connsiteX20" fmla="*/ 4278172 w 10494875"/>
                <a:gd name="connsiteY20" fmla="*/ 9047920 h 11063679"/>
                <a:gd name="connsiteX21" fmla="*/ 0 w 10494875"/>
                <a:gd name="connsiteY21" fmla="*/ 0 h 11063679"/>
                <a:gd name="connsiteX22" fmla="*/ 29296 w 10494875"/>
                <a:gd name="connsiteY22" fmla="*/ 590651 h 11063679"/>
                <a:gd name="connsiteX23" fmla="*/ 4056269 w 10494875"/>
                <a:gd name="connsiteY23" fmla="*/ 9447119 h 11063679"/>
                <a:gd name="connsiteX24" fmla="*/ 5148356 w 10494875"/>
                <a:gd name="connsiteY24" fmla="*/ 10469331 h 11063679"/>
                <a:gd name="connsiteX25" fmla="*/ 6644613 w 10494875"/>
                <a:gd name="connsiteY25" fmla="*/ 11014461 h 11063679"/>
                <a:gd name="connsiteX26" fmla="*/ 8515178 w 10494875"/>
                <a:gd name="connsiteY26" fmla="*/ 10954661 h 11063679"/>
                <a:gd name="connsiteX27" fmla="*/ 9730436 w 10494875"/>
                <a:gd name="connsiteY27" fmla="*/ 10278619 h 11063679"/>
                <a:gd name="connsiteX28" fmla="*/ 10396727 w 10494875"/>
                <a:gd name="connsiteY28" fmla="*/ 9153458 h 11063679"/>
                <a:gd name="connsiteX29" fmla="*/ 10423855 w 10494875"/>
                <a:gd name="connsiteY29" fmla="*/ 7936668 h 11063679"/>
                <a:gd name="connsiteX30" fmla="*/ 10121899 w 10494875"/>
                <a:gd name="connsiteY30" fmla="*/ 7109237 h 11063679"/>
                <a:gd name="connsiteX31" fmla="*/ 8833476 w 10494875"/>
                <a:gd name="connsiteY31" fmla="*/ 5483107 h 11063679"/>
                <a:gd name="connsiteX32" fmla="*/ 4958141 w 10494875"/>
                <a:gd name="connsiteY32" fmla="*/ 1548532 h 11063679"/>
                <a:gd name="connsiteX33" fmla="*/ 4039132 w 10494875"/>
                <a:gd name="connsiteY33" fmla="*/ 855362 h 11063679"/>
                <a:gd name="connsiteX34" fmla="*/ 3921251 w 10494875"/>
                <a:gd name="connsiteY34" fmla="*/ 953435 h 11063679"/>
                <a:gd name="connsiteX0" fmla="*/ 3921251 w 10494875"/>
                <a:gd name="connsiteY0" fmla="*/ 953435 h 11063679"/>
                <a:gd name="connsiteX1" fmla="*/ 4550508 w 10494875"/>
                <a:gd name="connsiteY1" fmla="*/ 1650552 h 11063679"/>
                <a:gd name="connsiteX2" fmla="*/ 4377174 w 10494875"/>
                <a:gd name="connsiteY2" fmla="*/ 1727914 h 11063679"/>
                <a:gd name="connsiteX3" fmla="*/ 5776268 w 10494875"/>
                <a:gd name="connsiteY3" fmla="*/ 3313931 h 11063679"/>
                <a:gd name="connsiteX4" fmla="*/ 6048935 w 10494875"/>
                <a:gd name="connsiteY4" fmla="*/ 3635999 h 11063679"/>
                <a:gd name="connsiteX5" fmla="*/ 3976192 w 10494875"/>
                <a:gd name="connsiteY5" fmla="*/ 4479470 h 11063679"/>
                <a:gd name="connsiteX6" fmla="*/ 4091110 w 10494875"/>
                <a:gd name="connsiteY6" fmla="*/ 4752697 h 11063679"/>
                <a:gd name="connsiteX7" fmla="*/ 4769078 w 10494875"/>
                <a:gd name="connsiteY7" fmla="*/ 4472697 h 11063679"/>
                <a:gd name="connsiteX8" fmla="*/ 5088839 w 10494875"/>
                <a:gd name="connsiteY8" fmla="*/ 4987820 h 11063679"/>
                <a:gd name="connsiteX9" fmla="*/ 6719057 w 10494875"/>
                <a:gd name="connsiteY9" fmla="*/ 4290975 h 11063679"/>
                <a:gd name="connsiteX10" fmla="*/ 7787095 w 10494875"/>
                <a:gd name="connsiteY10" fmla="*/ 5458935 h 11063679"/>
                <a:gd name="connsiteX11" fmla="*/ 8103044 w 10494875"/>
                <a:gd name="connsiteY11" fmla="*/ 5257807 h 11063679"/>
                <a:gd name="connsiteX12" fmla="*/ 9335618 w 10494875"/>
                <a:gd name="connsiteY12" fmla="*/ 6527006 h 11063679"/>
                <a:gd name="connsiteX13" fmla="*/ 9901967 w 10494875"/>
                <a:gd name="connsiteY13" fmla="*/ 7067771 h 11063679"/>
                <a:gd name="connsiteX14" fmla="*/ 10271211 w 10494875"/>
                <a:gd name="connsiteY14" fmla="*/ 7984801 h 11063679"/>
                <a:gd name="connsiteX15" fmla="*/ 10232728 w 10494875"/>
                <a:gd name="connsiteY15" fmla="*/ 9072677 h 11063679"/>
                <a:gd name="connsiteX16" fmla="*/ 9666845 w 10494875"/>
                <a:gd name="connsiteY16" fmla="*/ 10072017 h 11063679"/>
                <a:gd name="connsiteX17" fmla="*/ 8425383 w 10494875"/>
                <a:gd name="connsiteY17" fmla="*/ 10729290 h 11063679"/>
                <a:gd name="connsiteX18" fmla="*/ 6655710 w 10494875"/>
                <a:gd name="connsiteY18" fmla="*/ 10791196 h 11063679"/>
                <a:gd name="connsiteX19" fmla="*/ 5209433 w 10494875"/>
                <a:gd name="connsiteY19" fmla="*/ 10216285 h 11063679"/>
                <a:gd name="connsiteX20" fmla="*/ 4278172 w 10494875"/>
                <a:gd name="connsiteY20" fmla="*/ 9047920 h 11063679"/>
                <a:gd name="connsiteX21" fmla="*/ 0 w 10494875"/>
                <a:gd name="connsiteY21" fmla="*/ 0 h 11063679"/>
                <a:gd name="connsiteX22" fmla="*/ 29296 w 10494875"/>
                <a:gd name="connsiteY22" fmla="*/ 590651 h 11063679"/>
                <a:gd name="connsiteX23" fmla="*/ 4056269 w 10494875"/>
                <a:gd name="connsiteY23" fmla="*/ 9447119 h 11063679"/>
                <a:gd name="connsiteX24" fmla="*/ 5148356 w 10494875"/>
                <a:gd name="connsiteY24" fmla="*/ 10469331 h 11063679"/>
                <a:gd name="connsiteX25" fmla="*/ 6644613 w 10494875"/>
                <a:gd name="connsiteY25" fmla="*/ 11014461 h 11063679"/>
                <a:gd name="connsiteX26" fmla="*/ 8515178 w 10494875"/>
                <a:gd name="connsiteY26" fmla="*/ 10954661 h 11063679"/>
                <a:gd name="connsiteX27" fmla="*/ 9730436 w 10494875"/>
                <a:gd name="connsiteY27" fmla="*/ 10278619 h 11063679"/>
                <a:gd name="connsiteX28" fmla="*/ 10396727 w 10494875"/>
                <a:gd name="connsiteY28" fmla="*/ 9153458 h 11063679"/>
                <a:gd name="connsiteX29" fmla="*/ 10423855 w 10494875"/>
                <a:gd name="connsiteY29" fmla="*/ 7936668 h 11063679"/>
                <a:gd name="connsiteX30" fmla="*/ 10121899 w 10494875"/>
                <a:gd name="connsiteY30" fmla="*/ 7109237 h 11063679"/>
                <a:gd name="connsiteX31" fmla="*/ 8833476 w 10494875"/>
                <a:gd name="connsiteY31" fmla="*/ 5483107 h 11063679"/>
                <a:gd name="connsiteX32" fmla="*/ 4958141 w 10494875"/>
                <a:gd name="connsiteY32" fmla="*/ 1548532 h 11063679"/>
                <a:gd name="connsiteX33" fmla="*/ 4039132 w 10494875"/>
                <a:gd name="connsiteY33" fmla="*/ 855362 h 11063679"/>
                <a:gd name="connsiteX34" fmla="*/ 3921251 w 10494875"/>
                <a:gd name="connsiteY34" fmla="*/ 953435 h 11063679"/>
                <a:gd name="connsiteX0" fmla="*/ 3921251 w 10494875"/>
                <a:gd name="connsiteY0" fmla="*/ 953435 h 11063679"/>
                <a:gd name="connsiteX1" fmla="*/ 4550508 w 10494875"/>
                <a:gd name="connsiteY1" fmla="*/ 1650552 h 11063679"/>
                <a:gd name="connsiteX2" fmla="*/ 4377174 w 10494875"/>
                <a:gd name="connsiteY2" fmla="*/ 1727914 h 11063679"/>
                <a:gd name="connsiteX3" fmla="*/ 5776268 w 10494875"/>
                <a:gd name="connsiteY3" fmla="*/ 3313931 h 11063679"/>
                <a:gd name="connsiteX4" fmla="*/ 6048935 w 10494875"/>
                <a:gd name="connsiteY4" fmla="*/ 3635999 h 11063679"/>
                <a:gd name="connsiteX5" fmla="*/ 3976192 w 10494875"/>
                <a:gd name="connsiteY5" fmla="*/ 4479470 h 11063679"/>
                <a:gd name="connsiteX6" fmla="*/ 4091110 w 10494875"/>
                <a:gd name="connsiteY6" fmla="*/ 4752697 h 11063679"/>
                <a:gd name="connsiteX7" fmla="*/ 4769078 w 10494875"/>
                <a:gd name="connsiteY7" fmla="*/ 4472697 h 11063679"/>
                <a:gd name="connsiteX8" fmla="*/ 5088839 w 10494875"/>
                <a:gd name="connsiteY8" fmla="*/ 4987820 h 11063679"/>
                <a:gd name="connsiteX9" fmla="*/ 6719057 w 10494875"/>
                <a:gd name="connsiteY9" fmla="*/ 4290975 h 11063679"/>
                <a:gd name="connsiteX10" fmla="*/ 7787095 w 10494875"/>
                <a:gd name="connsiteY10" fmla="*/ 5458935 h 11063679"/>
                <a:gd name="connsiteX11" fmla="*/ 8103044 w 10494875"/>
                <a:gd name="connsiteY11" fmla="*/ 5257807 h 11063679"/>
                <a:gd name="connsiteX12" fmla="*/ 9335618 w 10494875"/>
                <a:gd name="connsiteY12" fmla="*/ 6527006 h 11063679"/>
                <a:gd name="connsiteX13" fmla="*/ 9901967 w 10494875"/>
                <a:gd name="connsiteY13" fmla="*/ 7067771 h 11063679"/>
                <a:gd name="connsiteX14" fmla="*/ 10271211 w 10494875"/>
                <a:gd name="connsiteY14" fmla="*/ 7984801 h 11063679"/>
                <a:gd name="connsiteX15" fmla="*/ 10232728 w 10494875"/>
                <a:gd name="connsiteY15" fmla="*/ 9072677 h 11063679"/>
                <a:gd name="connsiteX16" fmla="*/ 9666845 w 10494875"/>
                <a:gd name="connsiteY16" fmla="*/ 10072017 h 11063679"/>
                <a:gd name="connsiteX17" fmla="*/ 8425383 w 10494875"/>
                <a:gd name="connsiteY17" fmla="*/ 10729290 h 11063679"/>
                <a:gd name="connsiteX18" fmla="*/ 6655710 w 10494875"/>
                <a:gd name="connsiteY18" fmla="*/ 10791196 h 11063679"/>
                <a:gd name="connsiteX19" fmla="*/ 5209433 w 10494875"/>
                <a:gd name="connsiteY19" fmla="*/ 10216285 h 11063679"/>
                <a:gd name="connsiteX20" fmla="*/ 4278172 w 10494875"/>
                <a:gd name="connsiteY20" fmla="*/ 9047920 h 11063679"/>
                <a:gd name="connsiteX21" fmla="*/ 0 w 10494875"/>
                <a:gd name="connsiteY21" fmla="*/ 0 h 11063679"/>
                <a:gd name="connsiteX22" fmla="*/ 29296 w 10494875"/>
                <a:gd name="connsiteY22" fmla="*/ 590651 h 11063679"/>
                <a:gd name="connsiteX23" fmla="*/ 4056269 w 10494875"/>
                <a:gd name="connsiteY23" fmla="*/ 9447119 h 11063679"/>
                <a:gd name="connsiteX24" fmla="*/ 5148356 w 10494875"/>
                <a:gd name="connsiteY24" fmla="*/ 10469331 h 11063679"/>
                <a:gd name="connsiteX25" fmla="*/ 6644613 w 10494875"/>
                <a:gd name="connsiteY25" fmla="*/ 11014461 h 11063679"/>
                <a:gd name="connsiteX26" fmla="*/ 8515178 w 10494875"/>
                <a:gd name="connsiteY26" fmla="*/ 10954661 h 11063679"/>
                <a:gd name="connsiteX27" fmla="*/ 9730436 w 10494875"/>
                <a:gd name="connsiteY27" fmla="*/ 10278619 h 11063679"/>
                <a:gd name="connsiteX28" fmla="*/ 10396727 w 10494875"/>
                <a:gd name="connsiteY28" fmla="*/ 9153458 h 11063679"/>
                <a:gd name="connsiteX29" fmla="*/ 10423855 w 10494875"/>
                <a:gd name="connsiteY29" fmla="*/ 7936668 h 11063679"/>
                <a:gd name="connsiteX30" fmla="*/ 10121899 w 10494875"/>
                <a:gd name="connsiteY30" fmla="*/ 7109237 h 11063679"/>
                <a:gd name="connsiteX31" fmla="*/ 8833476 w 10494875"/>
                <a:gd name="connsiteY31" fmla="*/ 5483107 h 11063679"/>
                <a:gd name="connsiteX32" fmla="*/ 4958141 w 10494875"/>
                <a:gd name="connsiteY32" fmla="*/ 1548532 h 11063679"/>
                <a:gd name="connsiteX33" fmla="*/ 4039132 w 10494875"/>
                <a:gd name="connsiteY33" fmla="*/ 855362 h 11063679"/>
                <a:gd name="connsiteX34" fmla="*/ 3921251 w 10494875"/>
                <a:gd name="connsiteY34" fmla="*/ 953435 h 11063679"/>
                <a:gd name="connsiteX0" fmla="*/ 3921251 w 10494875"/>
                <a:gd name="connsiteY0" fmla="*/ 953435 h 11063679"/>
                <a:gd name="connsiteX1" fmla="*/ 4550508 w 10494875"/>
                <a:gd name="connsiteY1" fmla="*/ 1650552 h 11063679"/>
                <a:gd name="connsiteX2" fmla="*/ 4377174 w 10494875"/>
                <a:gd name="connsiteY2" fmla="*/ 1727914 h 11063679"/>
                <a:gd name="connsiteX3" fmla="*/ 5776268 w 10494875"/>
                <a:gd name="connsiteY3" fmla="*/ 3313931 h 11063679"/>
                <a:gd name="connsiteX4" fmla="*/ 6048935 w 10494875"/>
                <a:gd name="connsiteY4" fmla="*/ 3635999 h 11063679"/>
                <a:gd name="connsiteX5" fmla="*/ 3976192 w 10494875"/>
                <a:gd name="connsiteY5" fmla="*/ 4479470 h 11063679"/>
                <a:gd name="connsiteX6" fmla="*/ 4091110 w 10494875"/>
                <a:gd name="connsiteY6" fmla="*/ 4752697 h 11063679"/>
                <a:gd name="connsiteX7" fmla="*/ 4769078 w 10494875"/>
                <a:gd name="connsiteY7" fmla="*/ 4472697 h 11063679"/>
                <a:gd name="connsiteX8" fmla="*/ 5088839 w 10494875"/>
                <a:gd name="connsiteY8" fmla="*/ 4987820 h 11063679"/>
                <a:gd name="connsiteX9" fmla="*/ 6719057 w 10494875"/>
                <a:gd name="connsiteY9" fmla="*/ 4290975 h 11063679"/>
                <a:gd name="connsiteX10" fmla="*/ 7787095 w 10494875"/>
                <a:gd name="connsiteY10" fmla="*/ 5458935 h 11063679"/>
                <a:gd name="connsiteX11" fmla="*/ 8103044 w 10494875"/>
                <a:gd name="connsiteY11" fmla="*/ 5257807 h 11063679"/>
                <a:gd name="connsiteX12" fmla="*/ 9335618 w 10494875"/>
                <a:gd name="connsiteY12" fmla="*/ 6527006 h 11063679"/>
                <a:gd name="connsiteX13" fmla="*/ 9901967 w 10494875"/>
                <a:gd name="connsiteY13" fmla="*/ 7067771 h 11063679"/>
                <a:gd name="connsiteX14" fmla="*/ 10271211 w 10494875"/>
                <a:gd name="connsiteY14" fmla="*/ 7984801 h 11063679"/>
                <a:gd name="connsiteX15" fmla="*/ 10232728 w 10494875"/>
                <a:gd name="connsiteY15" fmla="*/ 9072677 h 11063679"/>
                <a:gd name="connsiteX16" fmla="*/ 9666845 w 10494875"/>
                <a:gd name="connsiteY16" fmla="*/ 10072017 h 11063679"/>
                <a:gd name="connsiteX17" fmla="*/ 8425383 w 10494875"/>
                <a:gd name="connsiteY17" fmla="*/ 10729290 h 11063679"/>
                <a:gd name="connsiteX18" fmla="*/ 6655710 w 10494875"/>
                <a:gd name="connsiteY18" fmla="*/ 10791196 h 11063679"/>
                <a:gd name="connsiteX19" fmla="*/ 5209433 w 10494875"/>
                <a:gd name="connsiteY19" fmla="*/ 10216285 h 11063679"/>
                <a:gd name="connsiteX20" fmla="*/ 4278172 w 10494875"/>
                <a:gd name="connsiteY20" fmla="*/ 9047920 h 11063679"/>
                <a:gd name="connsiteX21" fmla="*/ 0 w 10494875"/>
                <a:gd name="connsiteY21" fmla="*/ 0 h 11063679"/>
                <a:gd name="connsiteX22" fmla="*/ 29296 w 10494875"/>
                <a:gd name="connsiteY22" fmla="*/ 590651 h 11063679"/>
                <a:gd name="connsiteX23" fmla="*/ 4056269 w 10494875"/>
                <a:gd name="connsiteY23" fmla="*/ 9447119 h 11063679"/>
                <a:gd name="connsiteX24" fmla="*/ 5148356 w 10494875"/>
                <a:gd name="connsiteY24" fmla="*/ 10469331 h 11063679"/>
                <a:gd name="connsiteX25" fmla="*/ 6644613 w 10494875"/>
                <a:gd name="connsiteY25" fmla="*/ 11014461 h 11063679"/>
                <a:gd name="connsiteX26" fmla="*/ 8515178 w 10494875"/>
                <a:gd name="connsiteY26" fmla="*/ 10954661 h 11063679"/>
                <a:gd name="connsiteX27" fmla="*/ 9730436 w 10494875"/>
                <a:gd name="connsiteY27" fmla="*/ 10278619 h 11063679"/>
                <a:gd name="connsiteX28" fmla="*/ 10396727 w 10494875"/>
                <a:gd name="connsiteY28" fmla="*/ 9153458 h 11063679"/>
                <a:gd name="connsiteX29" fmla="*/ 10423855 w 10494875"/>
                <a:gd name="connsiteY29" fmla="*/ 7936668 h 11063679"/>
                <a:gd name="connsiteX30" fmla="*/ 10121899 w 10494875"/>
                <a:gd name="connsiteY30" fmla="*/ 7109237 h 11063679"/>
                <a:gd name="connsiteX31" fmla="*/ 8833476 w 10494875"/>
                <a:gd name="connsiteY31" fmla="*/ 5483107 h 11063679"/>
                <a:gd name="connsiteX32" fmla="*/ 4958141 w 10494875"/>
                <a:gd name="connsiteY32" fmla="*/ 1548532 h 11063679"/>
                <a:gd name="connsiteX33" fmla="*/ 4039132 w 10494875"/>
                <a:gd name="connsiteY33" fmla="*/ 855362 h 11063679"/>
                <a:gd name="connsiteX34" fmla="*/ 3921251 w 10494875"/>
                <a:gd name="connsiteY34" fmla="*/ 953435 h 11063679"/>
                <a:gd name="connsiteX0" fmla="*/ 3921251 w 10494875"/>
                <a:gd name="connsiteY0" fmla="*/ 953435 h 11328175"/>
                <a:gd name="connsiteX1" fmla="*/ 4550508 w 10494875"/>
                <a:gd name="connsiteY1" fmla="*/ 1650552 h 11328175"/>
                <a:gd name="connsiteX2" fmla="*/ 4377174 w 10494875"/>
                <a:gd name="connsiteY2" fmla="*/ 1727914 h 11328175"/>
                <a:gd name="connsiteX3" fmla="*/ 5776268 w 10494875"/>
                <a:gd name="connsiteY3" fmla="*/ 3313931 h 11328175"/>
                <a:gd name="connsiteX4" fmla="*/ 6048935 w 10494875"/>
                <a:gd name="connsiteY4" fmla="*/ 3635999 h 11328175"/>
                <a:gd name="connsiteX5" fmla="*/ 3976192 w 10494875"/>
                <a:gd name="connsiteY5" fmla="*/ 4479470 h 11328175"/>
                <a:gd name="connsiteX6" fmla="*/ 4091110 w 10494875"/>
                <a:gd name="connsiteY6" fmla="*/ 4752697 h 11328175"/>
                <a:gd name="connsiteX7" fmla="*/ 4769078 w 10494875"/>
                <a:gd name="connsiteY7" fmla="*/ 4472697 h 11328175"/>
                <a:gd name="connsiteX8" fmla="*/ 5088839 w 10494875"/>
                <a:gd name="connsiteY8" fmla="*/ 4987820 h 11328175"/>
                <a:gd name="connsiteX9" fmla="*/ 6719057 w 10494875"/>
                <a:gd name="connsiteY9" fmla="*/ 4290975 h 11328175"/>
                <a:gd name="connsiteX10" fmla="*/ 7787095 w 10494875"/>
                <a:gd name="connsiteY10" fmla="*/ 5458935 h 11328175"/>
                <a:gd name="connsiteX11" fmla="*/ 8103044 w 10494875"/>
                <a:gd name="connsiteY11" fmla="*/ 5257807 h 11328175"/>
                <a:gd name="connsiteX12" fmla="*/ 9335618 w 10494875"/>
                <a:gd name="connsiteY12" fmla="*/ 6527006 h 11328175"/>
                <a:gd name="connsiteX13" fmla="*/ 9901967 w 10494875"/>
                <a:gd name="connsiteY13" fmla="*/ 7067771 h 11328175"/>
                <a:gd name="connsiteX14" fmla="*/ 10271211 w 10494875"/>
                <a:gd name="connsiteY14" fmla="*/ 7984801 h 11328175"/>
                <a:gd name="connsiteX15" fmla="*/ 10232728 w 10494875"/>
                <a:gd name="connsiteY15" fmla="*/ 9072677 h 11328175"/>
                <a:gd name="connsiteX16" fmla="*/ 9666845 w 10494875"/>
                <a:gd name="connsiteY16" fmla="*/ 10072017 h 11328175"/>
                <a:gd name="connsiteX17" fmla="*/ 8425383 w 10494875"/>
                <a:gd name="connsiteY17" fmla="*/ 10729290 h 11328175"/>
                <a:gd name="connsiteX18" fmla="*/ 6655710 w 10494875"/>
                <a:gd name="connsiteY18" fmla="*/ 10791196 h 11328175"/>
                <a:gd name="connsiteX19" fmla="*/ 5209433 w 10494875"/>
                <a:gd name="connsiteY19" fmla="*/ 10216285 h 11328175"/>
                <a:gd name="connsiteX20" fmla="*/ 4278172 w 10494875"/>
                <a:gd name="connsiteY20" fmla="*/ 9047920 h 11328175"/>
                <a:gd name="connsiteX21" fmla="*/ 0 w 10494875"/>
                <a:gd name="connsiteY21" fmla="*/ 0 h 11328175"/>
                <a:gd name="connsiteX22" fmla="*/ 29296 w 10494875"/>
                <a:gd name="connsiteY22" fmla="*/ 590651 h 11328175"/>
                <a:gd name="connsiteX23" fmla="*/ 4056269 w 10494875"/>
                <a:gd name="connsiteY23" fmla="*/ 9447119 h 11328175"/>
                <a:gd name="connsiteX24" fmla="*/ 5148356 w 10494875"/>
                <a:gd name="connsiteY24" fmla="*/ 10469331 h 11328175"/>
                <a:gd name="connsiteX25" fmla="*/ 6644613 w 10494875"/>
                <a:gd name="connsiteY25" fmla="*/ 11014461 h 11328175"/>
                <a:gd name="connsiteX26" fmla="*/ 8369295 w 10494875"/>
                <a:gd name="connsiteY26" fmla="*/ 11296803 h 11328175"/>
                <a:gd name="connsiteX27" fmla="*/ 9730436 w 10494875"/>
                <a:gd name="connsiteY27" fmla="*/ 10278619 h 11328175"/>
                <a:gd name="connsiteX28" fmla="*/ 10396727 w 10494875"/>
                <a:gd name="connsiteY28" fmla="*/ 9153458 h 11328175"/>
                <a:gd name="connsiteX29" fmla="*/ 10423855 w 10494875"/>
                <a:gd name="connsiteY29" fmla="*/ 7936668 h 11328175"/>
                <a:gd name="connsiteX30" fmla="*/ 10121899 w 10494875"/>
                <a:gd name="connsiteY30" fmla="*/ 7109237 h 11328175"/>
                <a:gd name="connsiteX31" fmla="*/ 8833476 w 10494875"/>
                <a:gd name="connsiteY31" fmla="*/ 5483107 h 11328175"/>
                <a:gd name="connsiteX32" fmla="*/ 4958141 w 10494875"/>
                <a:gd name="connsiteY32" fmla="*/ 1548532 h 11328175"/>
                <a:gd name="connsiteX33" fmla="*/ 4039132 w 10494875"/>
                <a:gd name="connsiteY33" fmla="*/ 855362 h 11328175"/>
                <a:gd name="connsiteX34" fmla="*/ 3921251 w 10494875"/>
                <a:gd name="connsiteY34" fmla="*/ 953435 h 11328175"/>
                <a:gd name="connsiteX0" fmla="*/ 3921251 w 10494875"/>
                <a:gd name="connsiteY0" fmla="*/ 953435 h 11328175"/>
                <a:gd name="connsiteX1" fmla="*/ 4550508 w 10494875"/>
                <a:gd name="connsiteY1" fmla="*/ 1650552 h 11328175"/>
                <a:gd name="connsiteX2" fmla="*/ 4377174 w 10494875"/>
                <a:gd name="connsiteY2" fmla="*/ 1727914 h 11328175"/>
                <a:gd name="connsiteX3" fmla="*/ 5776268 w 10494875"/>
                <a:gd name="connsiteY3" fmla="*/ 3313931 h 11328175"/>
                <a:gd name="connsiteX4" fmla="*/ 6048935 w 10494875"/>
                <a:gd name="connsiteY4" fmla="*/ 3635999 h 11328175"/>
                <a:gd name="connsiteX5" fmla="*/ 3976192 w 10494875"/>
                <a:gd name="connsiteY5" fmla="*/ 4479470 h 11328175"/>
                <a:gd name="connsiteX6" fmla="*/ 4091110 w 10494875"/>
                <a:gd name="connsiteY6" fmla="*/ 4752697 h 11328175"/>
                <a:gd name="connsiteX7" fmla="*/ 4769078 w 10494875"/>
                <a:gd name="connsiteY7" fmla="*/ 4472697 h 11328175"/>
                <a:gd name="connsiteX8" fmla="*/ 5088839 w 10494875"/>
                <a:gd name="connsiteY8" fmla="*/ 4987820 h 11328175"/>
                <a:gd name="connsiteX9" fmla="*/ 6719057 w 10494875"/>
                <a:gd name="connsiteY9" fmla="*/ 4290975 h 11328175"/>
                <a:gd name="connsiteX10" fmla="*/ 7787095 w 10494875"/>
                <a:gd name="connsiteY10" fmla="*/ 5458935 h 11328175"/>
                <a:gd name="connsiteX11" fmla="*/ 8103044 w 10494875"/>
                <a:gd name="connsiteY11" fmla="*/ 5257807 h 11328175"/>
                <a:gd name="connsiteX12" fmla="*/ 9335618 w 10494875"/>
                <a:gd name="connsiteY12" fmla="*/ 6527006 h 11328175"/>
                <a:gd name="connsiteX13" fmla="*/ 9901967 w 10494875"/>
                <a:gd name="connsiteY13" fmla="*/ 7067771 h 11328175"/>
                <a:gd name="connsiteX14" fmla="*/ 10271211 w 10494875"/>
                <a:gd name="connsiteY14" fmla="*/ 7984801 h 11328175"/>
                <a:gd name="connsiteX15" fmla="*/ 10232728 w 10494875"/>
                <a:gd name="connsiteY15" fmla="*/ 9072677 h 11328175"/>
                <a:gd name="connsiteX16" fmla="*/ 9666845 w 10494875"/>
                <a:gd name="connsiteY16" fmla="*/ 10072017 h 11328175"/>
                <a:gd name="connsiteX17" fmla="*/ 8286444 w 10494875"/>
                <a:gd name="connsiteY17" fmla="*/ 11071433 h 11328175"/>
                <a:gd name="connsiteX18" fmla="*/ 6655710 w 10494875"/>
                <a:gd name="connsiteY18" fmla="*/ 10791196 h 11328175"/>
                <a:gd name="connsiteX19" fmla="*/ 5209433 w 10494875"/>
                <a:gd name="connsiteY19" fmla="*/ 10216285 h 11328175"/>
                <a:gd name="connsiteX20" fmla="*/ 4278172 w 10494875"/>
                <a:gd name="connsiteY20" fmla="*/ 9047920 h 11328175"/>
                <a:gd name="connsiteX21" fmla="*/ 0 w 10494875"/>
                <a:gd name="connsiteY21" fmla="*/ 0 h 11328175"/>
                <a:gd name="connsiteX22" fmla="*/ 29296 w 10494875"/>
                <a:gd name="connsiteY22" fmla="*/ 590651 h 11328175"/>
                <a:gd name="connsiteX23" fmla="*/ 4056269 w 10494875"/>
                <a:gd name="connsiteY23" fmla="*/ 9447119 h 11328175"/>
                <a:gd name="connsiteX24" fmla="*/ 5148356 w 10494875"/>
                <a:gd name="connsiteY24" fmla="*/ 10469331 h 11328175"/>
                <a:gd name="connsiteX25" fmla="*/ 6644613 w 10494875"/>
                <a:gd name="connsiteY25" fmla="*/ 11014461 h 11328175"/>
                <a:gd name="connsiteX26" fmla="*/ 8369295 w 10494875"/>
                <a:gd name="connsiteY26" fmla="*/ 11296803 h 11328175"/>
                <a:gd name="connsiteX27" fmla="*/ 9730436 w 10494875"/>
                <a:gd name="connsiteY27" fmla="*/ 10278619 h 11328175"/>
                <a:gd name="connsiteX28" fmla="*/ 10396727 w 10494875"/>
                <a:gd name="connsiteY28" fmla="*/ 9153458 h 11328175"/>
                <a:gd name="connsiteX29" fmla="*/ 10423855 w 10494875"/>
                <a:gd name="connsiteY29" fmla="*/ 7936668 h 11328175"/>
                <a:gd name="connsiteX30" fmla="*/ 10121899 w 10494875"/>
                <a:gd name="connsiteY30" fmla="*/ 7109237 h 11328175"/>
                <a:gd name="connsiteX31" fmla="*/ 8833476 w 10494875"/>
                <a:gd name="connsiteY31" fmla="*/ 5483107 h 11328175"/>
                <a:gd name="connsiteX32" fmla="*/ 4958141 w 10494875"/>
                <a:gd name="connsiteY32" fmla="*/ 1548532 h 11328175"/>
                <a:gd name="connsiteX33" fmla="*/ 4039132 w 10494875"/>
                <a:gd name="connsiteY33" fmla="*/ 855362 h 11328175"/>
                <a:gd name="connsiteX34" fmla="*/ 3921251 w 10494875"/>
                <a:gd name="connsiteY34" fmla="*/ 953435 h 11328175"/>
                <a:gd name="connsiteX0" fmla="*/ 3921251 w 10494875"/>
                <a:gd name="connsiteY0" fmla="*/ 953435 h 11435324"/>
                <a:gd name="connsiteX1" fmla="*/ 4550508 w 10494875"/>
                <a:gd name="connsiteY1" fmla="*/ 1650552 h 11435324"/>
                <a:gd name="connsiteX2" fmla="*/ 4377174 w 10494875"/>
                <a:gd name="connsiteY2" fmla="*/ 1727914 h 11435324"/>
                <a:gd name="connsiteX3" fmla="*/ 5776268 w 10494875"/>
                <a:gd name="connsiteY3" fmla="*/ 3313931 h 11435324"/>
                <a:gd name="connsiteX4" fmla="*/ 6048935 w 10494875"/>
                <a:gd name="connsiteY4" fmla="*/ 3635999 h 11435324"/>
                <a:gd name="connsiteX5" fmla="*/ 3976192 w 10494875"/>
                <a:gd name="connsiteY5" fmla="*/ 4479470 h 11435324"/>
                <a:gd name="connsiteX6" fmla="*/ 4091110 w 10494875"/>
                <a:gd name="connsiteY6" fmla="*/ 4752697 h 11435324"/>
                <a:gd name="connsiteX7" fmla="*/ 4769078 w 10494875"/>
                <a:gd name="connsiteY7" fmla="*/ 4472697 h 11435324"/>
                <a:gd name="connsiteX8" fmla="*/ 5088839 w 10494875"/>
                <a:gd name="connsiteY8" fmla="*/ 4987820 h 11435324"/>
                <a:gd name="connsiteX9" fmla="*/ 6719057 w 10494875"/>
                <a:gd name="connsiteY9" fmla="*/ 4290975 h 11435324"/>
                <a:gd name="connsiteX10" fmla="*/ 7787095 w 10494875"/>
                <a:gd name="connsiteY10" fmla="*/ 5458935 h 11435324"/>
                <a:gd name="connsiteX11" fmla="*/ 8103044 w 10494875"/>
                <a:gd name="connsiteY11" fmla="*/ 5257807 h 11435324"/>
                <a:gd name="connsiteX12" fmla="*/ 9335618 w 10494875"/>
                <a:gd name="connsiteY12" fmla="*/ 6527006 h 11435324"/>
                <a:gd name="connsiteX13" fmla="*/ 9901967 w 10494875"/>
                <a:gd name="connsiteY13" fmla="*/ 7067771 h 11435324"/>
                <a:gd name="connsiteX14" fmla="*/ 10271211 w 10494875"/>
                <a:gd name="connsiteY14" fmla="*/ 7984801 h 11435324"/>
                <a:gd name="connsiteX15" fmla="*/ 10232728 w 10494875"/>
                <a:gd name="connsiteY15" fmla="*/ 9072677 h 11435324"/>
                <a:gd name="connsiteX16" fmla="*/ 9666845 w 10494875"/>
                <a:gd name="connsiteY16" fmla="*/ 10072017 h 11435324"/>
                <a:gd name="connsiteX17" fmla="*/ 8286444 w 10494875"/>
                <a:gd name="connsiteY17" fmla="*/ 11071433 h 11435324"/>
                <a:gd name="connsiteX18" fmla="*/ 6655710 w 10494875"/>
                <a:gd name="connsiteY18" fmla="*/ 10791196 h 11435324"/>
                <a:gd name="connsiteX19" fmla="*/ 5209433 w 10494875"/>
                <a:gd name="connsiteY19" fmla="*/ 10216285 h 11435324"/>
                <a:gd name="connsiteX20" fmla="*/ 4278172 w 10494875"/>
                <a:gd name="connsiteY20" fmla="*/ 9047920 h 11435324"/>
                <a:gd name="connsiteX21" fmla="*/ 0 w 10494875"/>
                <a:gd name="connsiteY21" fmla="*/ 0 h 11435324"/>
                <a:gd name="connsiteX22" fmla="*/ 29296 w 10494875"/>
                <a:gd name="connsiteY22" fmla="*/ 590651 h 11435324"/>
                <a:gd name="connsiteX23" fmla="*/ 4056269 w 10494875"/>
                <a:gd name="connsiteY23" fmla="*/ 9447119 h 11435324"/>
                <a:gd name="connsiteX24" fmla="*/ 5148356 w 10494875"/>
                <a:gd name="connsiteY24" fmla="*/ 10469331 h 11435324"/>
                <a:gd name="connsiteX25" fmla="*/ 6568197 w 10494875"/>
                <a:gd name="connsiteY25" fmla="*/ 11337051 h 11435324"/>
                <a:gd name="connsiteX26" fmla="*/ 8369295 w 10494875"/>
                <a:gd name="connsiteY26" fmla="*/ 11296803 h 11435324"/>
                <a:gd name="connsiteX27" fmla="*/ 9730436 w 10494875"/>
                <a:gd name="connsiteY27" fmla="*/ 10278619 h 11435324"/>
                <a:gd name="connsiteX28" fmla="*/ 10396727 w 10494875"/>
                <a:gd name="connsiteY28" fmla="*/ 9153458 h 11435324"/>
                <a:gd name="connsiteX29" fmla="*/ 10423855 w 10494875"/>
                <a:gd name="connsiteY29" fmla="*/ 7936668 h 11435324"/>
                <a:gd name="connsiteX30" fmla="*/ 10121899 w 10494875"/>
                <a:gd name="connsiteY30" fmla="*/ 7109237 h 11435324"/>
                <a:gd name="connsiteX31" fmla="*/ 8833476 w 10494875"/>
                <a:gd name="connsiteY31" fmla="*/ 5483107 h 11435324"/>
                <a:gd name="connsiteX32" fmla="*/ 4958141 w 10494875"/>
                <a:gd name="connsiteY32" fmla="*/ 1548532 h 11435324"/>
                <a:gd name="connsiteX33" fmla="*/ 4039132 w 10494875"/>
                <a:gd name="connsiteY33" fmla="*/ 855362 h 11435324"/>
                <a:gd name="connsiteX34" fmla="*/ 3921251 w 10494875"/>
                <a:gd name="connsiteY34" fmla="*/ 953435 h 11435324"/>
                <a:gd name="connsiteX0" fmla="*/ 3921251 w 10494875"/>
                <a:gd name="connsiteY0" fmla="*/ 953435 h 11435324"/>
                <a:gd name="connsiteX1" fmla="*/ 4550508 w 10494875"/>
                <a:gd name="connsiteY1" fmla="*/ 1650552 h 11435324"/>
                <a:gd name="connsiteX2" fmla="*/ 4377174 w 10494875"/>
                <a:gd name="connsiteY2" fmla="*/ 1727914 h 11435324"/>
                <a:gd name="connsiteX3" fmla="*/ 5776268 w 10494875"/>
                <a:gd name="connsiteY3" fmla="*/ 3313931 h 11435324"/>
                <a:gd name="connsiteX4" fmla="*/ 6048935 w 10494875"/>
                <a:gd name="connsiteY4" fmla="*/ 3635999 h 11435324"/>
                <a:gd name="connsiteX5" fmla="*/ 3976192 w 10494875"/>
                <a:gd name="connsiteY5" fmla="*/ 4479470 h 11435324"/>
                <a:gd name="connsiteX6" fmla="*/ 4091110 w 10494875"/>
                <a:gd name="connsiteY6" fmla="*/ 4752697 h 11435324"/>
                <a:gd name="connsiteX7" fmla="*/ 4769078 w 10494875"/>
                <a:gd name="connsiteY7" fmla="*/ 4472697 h 11435324"/>
                <a:gd name="connsiteX8" fmla="*/ 5088839 w 10494875"/>
                <a:gd name="connsiteY8" fmla="*/ 4987820 h 11435324"/>
                <a:gd name="connsiteX9" fmla="*/ 6719057 w 10494875"/>
                <a:gd name="connsiteY9" fmla="*/ 4290975 h 11435324"/>
                <a:gd name="connsiteX10" fmla="*/ 7787095 w 10494875"/>
                <a:gd name="connsiteY10" fmla="*/ 5458935 h 11435324"/>
                <a:gd name="connsiteX11" fmla="*/ 8103044 w 10494875"/>
                <a:gd name="connsiteY11" fmla="*/ 5257807 h 11435324"/>
                <a:gd name="connsiteX12" fmla="*/ 9335618 w 10494875"/>
                <a:gd name="connsiteY12" fmla="*/ 6527006 h 11435324"/>
                <a:gd name="connsiteX13" fmla="*/ 9901967 w 10494875"/>
                <a:gd name="connsiteY13" fmla="*/ 7067771 h 11435324"/>
                <a:gd name="connsiteX14" fmla="*/ 10271211 w 10494875"/>
                <a:gd name="connsiteY14" fmla="*/ 7984801 h 11435324"/>
                <a:gd name="connsiteX15" fmla="*/ 10232728 w 10494875"/>
                <a:gd name="connsiteY15" fmla="*/ 9072677 h 11435324"/>
                <a:gd name="connsiteX16" fmla="*/ 9666845 w 10494875"/>
                <a:gd name="connsiteY16" fmla="*/ 10072017 h 11435324"/>
                <a:gd name="connsiteX17" fmla="*/ 8286444 w 10494875"/>
                <a:gd name="connsiteY17" fmla="*/ 11071433 h 11435324"/>
                <a:gd name="connsiteX18" fmla="*/ 6662657 w 10494875"/>
                <a:gd name="connsiteY18" fmla="*/ 11162665 h 11435324"/>
                <a:gd name="connsiteX19" fmla="*/ 5209433 w 10494875"/>
                <a:gd name="connsiteY19" fmla="*/ 10216285 h 11435324"/>
                <a:gd name="connsiteX20" fmla="*/ 4278172 w 10494875"/>
                <a:gd name="connsiteY20" fmla="*/ 9047920 h 11435324"/>
                <a:gd name="connsiteX21" fmla="*/ 0 w 10494875"/>
                <a:gd name="connsiteY21" fmla="*/ 0 h 11435324"/>
                <a:gd name="connsiteX22" fmla="*/ 29296 w 10494875"/>
                <a:gd name="connsiteY22" fmla="*/ 590651 h 11435324"/>
                <a:gd name="connsiteX23" fmla="*/ 4056269 w 10494875"/>
                <a:gd name="connsiteY23" fmla="*/ 9447119 h 11435324"/>
                <a:gd name="connsiteX24" fmla="*/ 5148356 w 10494875"/>
                <a:gd name="connsiteY24" fmla="*/ 10469331 h 11435324"/>
                <a:gd name="connsiteX25" fmla="*/ 6568197 w 10494875"/>
                <a:gd name="connsiteY25" fmla="*/ 11337051 h 11435324"/>
                <a:gd name="connsiteX26" fmla="*/ 8369295 w 10494875"/>
                <a:gd name="connsiteY26" fmla="*/ 11296803 h 11435324"/>
                <a:gd name="connsiteX27" fmla="*/ 9730436 w 10494875"/>
                <a:gd name="connsiteY27" fmla="*/ 10278619 h 11435324"/>
                <a:gd name="connsiteX28" fmla="*/ 10396727 w 10494875"/>
                <a:gd name="connsiteY28" fmla="*/ 9153458 h 11435324"/>
                <a:gd name="connsiteX29" fmla="*/ 10423855 w 10494875"/>
                <a:gd name="connsiteY29" fmla="*/ 7936668 h 11435324"/>
                <a:gd name="connsiteX30" fmla="*/ 10121899 w 10494875"/>
                <a:gd name="connsiteY30" fmla="*/ 7109237 h 11435324"/>
                <a:gd name="connsiteX31" fmla="*/ 8833476 w 10494875"/>
                <a:gd name="connsiteY31" fmla="*/ 5483107 h 11435324"/>
                <a:gd name="connsiteX32" fmla="*/ 4958141 w 10494875"/>
                <a:gd name="connsiteY32" fmla="*/ 1548532 h 11435324"/>
                <a:gd name="connsiteX33" fmla="*/ 4039132 w 10494875"/>
                <a:gd name="connsiteY33" fmla="*/ 855362 h 11435324"/>
                <a:gd name="connsiteX34" fmla="*/ 3921251 w 10494875"/>
                <a:gd name="connsiteY34" fmla="*/ 953435 h 11435324"/>
                <a:gd name="connsiteX0" fmla="*/ 3921251 w 10494875"/>
                <a:gd name="connsiteY0" fmla="*/ 953435 h 11453982"/>
                <a:gd name="connsiteX1" fmla="*/ 4550508 w 10494875"/>
                <a:gd name="connsiteY1" fmla="*/ 1650552 h 11453982"/>
                <a:gd name="connsiteX2" fmla="*/ 4377174 w 10494875"/>
                <a:gd name="connsiteY2" fmla="*/ 1727914 h 11453982"/>
                <a:gd name="connsiteX3" fmla="*/ 5776268 w 10494875"/>
                <a:gd name="connsiteY3" fmla="*/ 3313931 h 11453982"/>
                <a:gd name="connsiteX4" fmla="*/ 6048935 w 10494875"/>
                <a:gd name="connsiteY4" fmla="*/ 3635999 h 11453982"/>
                <a:gd name="connsiteX5" fmla="*/ 3976192 w 10494875"/>
                <a:gd name="connsiteY5" fmla="*/ 4479470 h 11453982"/>
                <a:gd name="connsiteX6" fmla="*/ 4091110 w 10494875"/>
                <a:gd name="connsiteY6" fmla="*/ 4752697 h 11453982"/>
                <a:gd name="connsiteX7" fmla="*/ 4769078 w 10494875"/>
                <a:gd name="connsiteY7" fmla="*/ 4472697 h 11453982"/>
                <a:gd name="connsiteX8" fmla="*/ 5088839 w 10494875"/>
                <a:gd name="connsiteY8" fmla="*/ 4987820 h 11453982"/>
                <a:gd name="connsiteX9" fmla="*/ 6719057 w 10494875"/>
                <a:gd name="connsiteY9" fmla="*/ 4290975 h 11453982"/>
                <a:gd name="connsiteX10" fmla="*/ 7787095 w 10494875"/>
                <a:gd name="connsiteY10" fmla="*/ 5458935 h 11453982"/>
                <a:gd name="connsiteX11" fmla="*/ 8103044 w 10494875"/>
                <a:gd name="connsiteY11" fmla="*/ 5257807 h 11453982"/>
                <a:gd name="connsiteX12" fmla="*/ 9335618 w 10494875"/>
                <a:gd name="connsiteY12" fmla="*/ 6527006 h 11453982"/>
                <a:gd name="connsiteX13" fmla="*/ 9901967 w 10494875"/>
                <a:gd name="connsiteY13" fmla="*/ 7067771 h 11453982"/>
                <a:gd name="connsiteX14" fmla="*/ 10271211 w 10494875"/>
                <a:gd name="connsiteY14" fmla="*/ 7984801 h 11453982"/>
                <a:gd name="connsiteX15" fmla="*/ 10232728 w 10494875"/>
                <a:gd name="connsiteY15" fmla="*/ 9072677 h 11453982"/>
                <a:gd name="connsiteX16" fmla="*/ 9666845 w 10494875"/>
                <a:gd name="connsiteY16" fmla="*/ 10072017 h 11453982"/>
                <a:gd name="connsiteX17" fmla="*/ 8286444 w 10494875"/>
                <a:gd name="connsiteY17" fmla="*/ 11071433 h 11453982"/>
                <a:gd name="connsiteX18" fmla="*/ 6662657 w 10494875"/>
                <a:gd name="connsiteY18" fmla="*/ 11162665 h 11453982"/>
                <a:gd name="connsiteX19" fmla="*/ 5209433 w 10494875"/>
                <a:gd name="connsiteY19" fmla="*/ 10216285 h 11453982"/>
                <a:gd name="connsiteX20" fmla="*/ 4278172 w 10494875"/>
                <a:gd name="connsiteY20" fmla="*/ 9047920 h 11453982"/>
                <a:gd name="connsiteX21" fmla="*/ 0 w 10494875"/>
                <a:gd name="connsiteY21" fmla="*/ 0 h 11453982"/>
                <a:gd name="connsiteX22" fmla="*/ 29296 w 10494875"/>
                <a:gd name="connsiteY22" fmla="*/ 590651 h 11453982"/>
                <a:gd name="connsiteX23" fmla="*/ 4056269 w 10494875"/>
                <a:gd name="connsiteY23" fmla="*/ 9447119 h 11453982"/>
                <a:gd name="connsiteX24" fmla="*/ 5148356 w 10494875"/>
                <a:gd name="connsiteY24" fmla="*/ 10469331 h 11453982"/>
                <a:gd name="connsiteX25" fmla="*/ 6561250 w 10494875"/>
                <a:gd name="connsiteY25" fmla="*/ 11366377 h 11453982"/>
                <a:gd name="connsiteX26" fmla="*/ 8369295 w 10494875"/>
                <a:gd name="connsiteY26" fmla="*/ 11296803 h 11453982"/>
                <a:gd name="connsiteX27" fmla="*/ 9730436 w 10494875"/>
                <a:gd name="connsiteY27" fmla="*/ 10278619 h 11453982"/>
                <a:gd name="connsiteX28" fmla="*/ 10396727 w 10494875"/>
                <a:gd name="connsiteY28" fmla="*/ 9153458 h 11453982"/>
                <a:gd name="connsiteX29" fmla="*/ 10423855 w 10494875"/>
                <a:gd name="connsiteY29" fmla="*/ 7936668 h 11453982"/>
                <a:gd name="connsiteX30" fmla="*/ 10121899 w 10494875"/>
                <a:gd name="connsiteY30" fmla="*/ 7109237 h 11453982"/>
                <a:gd name="connsiteX31" fmla="*/ 8833476 w 10494875"/>
                <a:gd name="connsiteY31" fmla="*/ 5483107 h 11453982"/>
                <a:gd name="connsiteX32" fmla="*/ 4958141 w 10494875"/>
                <a:gd name="connsiteY32" fmla="*/ 1548532 h 11453982"/>
                <a:gd name="connsiteX33" fmla="*/ 4039132 w 10494875"/>
                <a:gd name="connsiteY33" fmla="*/ 855362 h 11453982"/>
                <a:gd name="connsiteX34" fmla="*/ 3921251 w 10494875"/>
                <a:gd name="connsiteY34" fmla="*/ 953435 h 11453982"/>
                <a:gd name="connsiteX0" fmla="*/ 3921251 w 10494875"/>
                <a:gd name="connsiteY0" fmla="*/ 953435 h 11441065"/>
                <a:gd name="connsiteX1" fmla="*/ 4550508 w 10494875"/>
                <a:gd name="connsiteY1" fmla="*/ 1650552 h 11441065"/>
                <a:gd name="connsiteX2" fmla="*/ 4377174 w 10494875"/>
                <a:gd name="connsiteY2" fmla="*/ 1727914 h 11441065"/>
                <a:gd name="connsiteX3" fmla="*/ 5776268 w 10494875"/>
                <a:gd name="connsiteY3" fmla="*/ 3313931 h 11441065"/>
                <a:gd name="connsiteX4" fmla="*/ 6048935 w 10494875"/>
                <a:gd name="connsiteY4" fmla="*/ 3635999 h 11441065"/>
                <a:gd name="connsiteX5" fmla="*/ 3976192 w 10494875"/>
                <a:gd name="connsiteY5" fmla="*/ 4479470 h 11441065"/>
                <a:gd name="connsiteX6" fmla="*/ 4091110 w 10494875"/>
                <a:gd name="connsiteY6" fmla="*/ 4752697 h 11441065"/>
                <a:gd name="connsiteX7" fmla="*/ 4769078 w 10494875"/>
                <a:gd name="connsiteY7" fmla="*/ 4472697 h 11441065"/>
                <a:gd name="connsiteX8" fmla="*/ 5088839 w 10494875"/>
                <a:gd name="connsiteY8" fmla="*/ 4987820 h 11441065"/>
                <a:gd name="connsiteX9" fmla="*/ 6719057 w 10494875"/>
                <a:gd name="connsiteY9" fmla="*/ 4290975 h 11441065"/>
                <a:gd name="connsiteX10" fmla="*/ 7787095 w 10494875"/>
                <a:gd name="connsiteY10" fmla="*/ 5458935 h 11441065"/>
                <a:gd name="connsiteX11" fmla="*/ 8103044 w 10494875"/>
                <a:gd name="connsiteY11" fmla="*/ 5257807 h 11441065"/>
                <a:gd name="connsiteX12" fmla="*/ 9335618 w 10494875"/>
                <a:gd name="connsiteY12" fmla="*/ 6527006 h 11441065"/>
                <a:gd name="connsiteX13" fmla="*/ 9901967 w 10494875"/>
                <a:gd name="connsiteY13" fmla="*/ 7067771 h 11441065"/>
                <a:gd name="connsiteX14" fmla="*/ 10271211 w 10494875"/>
                <a:gd name="connsiteY14" fmla="*/ 7984801 h 11441065"/>
                <a:gd name="connsiteX15" fmla="*/ 10232728 w 10494875"/>
                <a:gd name="connsiteY15" fmla="*/ 9072677 h 11441065"/>
                <a:gd name="connsiteX16" fmla="*/ 9666845 w 10494875"/>
                <a:gd name="connsiteY16" fmla="*/ 10072017 h 11441065"/>
                <a:gd name="connsiteX17" fmla="*/ 8286444 w 10494875"/>
                <a:gd name="connsiteY17" fmla="*/ 11071433 h 11441065"/>
                <a:gd name="connsiteX18" fmla="*/ 6662657 w 10494875"/>
                <a:gd name="connsiteY18" fmla="*/ 11162665 h 11441065"/>
                <a:gd name="connsiteX19" fmla="*/ 5209433 w 10494875"/>
                <a:gd name="connsiteY19" fmla="*/ 10216285 h 11441065"/>
                <a:gd name="connsiteX20" fmla="*/ 4278172 w 10494875"/>
                <a:gd name="connsiteY20" fmla="*/ 9047920 h 11441065"/>
                <a:gd name="connsiteX21" fmla="*/ 0 w 10494875"/>
                <a:gd name="connsiteY21" fmla="*/ 0 h 11441065"/>
                <a:gd name="connsiteX22" fmla="*/ 29296 w 10494875"/>
                <a:gd name="connsiteY22" fmla="*/ 590651 h 11441065"/>
                <a:gd name="connsiteX23" fmla="*/ 4056269 w 10494875"/>
                <a:gd name="connsiteY23" fmla="*/ 9447119 h 11441065"/>
                <a:gd name="connsiteX24" fmla="*/ 5071940 w 10494875"/>
                <a:gd name="connsiteY24" fmla="*/ 10655066 h 11441065"/>
                <a:gd name="connsiteX25" fmla="*/ 6561250 w 10494875"/>
                <a:gd name="connsiteY25" fmla="*/ 11366377 h 11441065"/>
                <a:gd name="connsiteX26" fmla="*/ 8369295 w 10494875"/>
                <a:gd name="connsiteY26" fmla="*/ 11296803 h 11441065"/>
                <a:gd name="connsiteX27" fmla="*/ 9730436 w 10494875"/>
                <a:gd name="connsiteY27" fmla="*/ 10278619 h 11441065"/>
                <a:gd name="connsiteX28" fmla="*/ 10396727 w 10494875"/>
                <a:gd name="connsiteY28" fmla="*/ 9153458 h 11441065"/>
                <a:gd name="connsiteX29" fmla="*/ 10423855 w 10494875"/>
                <a:gd name="connsiteY29" fmla="*/ 7936668 h 11441065"/>
                <a:gd name="connsiteX30" fmla="*/ 10121899 w 10494875"/>
                <a:gd name="connsiteY30" fmla="*/ 7109237 h 11441065"/>
                <a:gd name="connsiteX31" fmla="*/ 8833476 w 10494875"/>
                <a:gd name="connsiteY31" fmla="*/ 5483107 h 11441065"/>
                <a:gd name="connsiteX32" fmla="*/ 4958141 w 10494875"/>
                <a:gd name="connsiteY32" fmla="*/ 1548532 h 11441065"/>
                <a:gd name="connsiteX33" fmla="*/ 4039132 w 10494875"/>
                <a:gd name="connsiteY33" fmla="*/ 855362 h 11441065"/>
                <a:gd name="connsiteX34" fmla="*/ 3921251 w 10494875"/>
                <a:gd name="connsiteY34" fmla="*/ 953435 h 11441065"/>
                <a:gd name="connsiteX0" fmla="*/ 3921251 w 10494875"/>
                <a:gd name="connsiteY0" fmla="*/ 953435 h 11441065"/>
                <a:gd name="connsiteX1" fmla="*/ 4550508 w 10494875"/>
                <a:gd name="connsiteY1" fmla="*/ 1650552 h 11441065"/>
                <a:gd name="connsiteX2" fmla="*/ 4377174 w 10494875"/>
                <a:gd name="connsiteY2" fmla="*/ 1727914 h 11441065"/>
                <a:gd name="connsiteX3" fmla="*/ 5776268 w 10494875"/>
                <a:gd name="connsiteY3" fmla="*/ 3313931 h 11441065"/>
                <a:gd name="connsiteX4" fmla="*/ 6048935 w 10494875"/>
                <a:gd name="connsiteY4" fmla="*/ 3635999 h 11441065"/>
                <a:gd name="connsiteX5" fmla="*/ 3976192 w 10494875"/>
                <a:gd name="connsiteY5" fmla="*/ 4479470 h 11441065"/>
                <a:gd name="connsiteX6" fmla="*/ 4091110 w 10494875"/>
                <a:gd name="connsiteY6" fmla="*/ 4752697 h 11441065"/>
                <a:gd name="connsiteX7" fmla="*/ 4769078 w 10494875"/>
                <a:gd name="connsiteY7" fmla="*/ 4472697 h 11441065"/>
                <a:gd name="connsiteX8" fmla="*/ 5088839 w 10494875"/>
                <a:gd name="connsiteY8" fmla="*/ 4987820 h 11441065"/>
                <a:gd name="connsiteX9" fmla="*/ 6719057 w 10494875"/>
                <a:gd name="connsiteY9" fmla="*/ 4290975 h 11441065"/>
                <a:gd name="connsiteX10" fmla="*/ 7787095 w 10494875"/>
                <a:gd name="connsiteY10" fmla="*/ 5458935 h 11441065"/>
                <a:gd name="connsiteX11" fmla="*/ 8103044 w 10494875"/>
                <a:gd name="connsiteY11" fmla="*/ 5257807 h 11441065"/>
                <a:gd name="connsiteX12" fmla="*/ 9335618 w 10494875"/>
                <a:gd name="connsiteY12" fmla="*/ 6527006 h 11441065"/>
                <a:gd name="connsiteX13" fmla="*/ 9901967 w 10494875"/>
                <a:gd name="connsiteY13" fmla="*/ 7067771 h 11441065"/>
                <a:gd name="connsiteX14" fmla="*/ 10271211 w 10494875"/>
                <a:gd name="connsiteY14" fmla="*/ 7984801 h 11441065"/>
                <a:gd name="connsiteX15" fmla="*/ 10232728 w 10494875"/>
                <a:gd name="connsiteY15" fmla="*/ 9072677 h 11441065"/>
                <a:gd name="connsiteX16" fmla="*/ 9666845 w 10494875"/>
                <a:gd name="connsiteY16" fmla="*/ 10072017 h 11441065"/>
                <a:gd name="connsiteX17" fmla="*/ 8286444 w 10494875"/>
                <a:gd name="connsiteY17" fmla="*/ 11071433 h 11441065"/>
                <a:gd name="connsiteX18" fmla="*/ 6662657 w 10494875"/>
                <a:gd name="connsiteY18" fmla="*/ 11162665 h 11441065"/>
                <a:gd name="connsiteX19" fmla="*/ 5216381 w 10494875"/>
                <a:gd name="connsiteY19" fmla="*/ 10431347 h 11441065"/>
                <a:gd name="connsiteX20" fmla="*/ 4278172 w 10494875"/>
                <a:gd name="connsiteY20" fmla="*/ 9047920 h 11441065"/>
                <a:gd name="connsiteX21" fmla="*/ 0 w 10494875"/>
                <a:gd name="connsiteY21" fmla="*/ 0 h 11441065"/>
                <a:gd name="connsiteX22" fmla="*/ 29296 w 10494875"/>
                <a:gd name="connsiteY22" fmla="*/ 590651 h 11441065"/>
                <a:gd name="connsiteX23" fmla="*/ 4056269 w 10494875"/>
                <a:gd name="connsiteY23" fmla="*/ 9447119 h 11441065"/>
                <a:gd name="connsiteX24" fmla="*/ 5071940 w 10494875"/>
                <a:gd name="connsiteY24" fmla="*/ 10655066 h 11441065"/>
                <a:gd name="connsiteX25" fmla="*/ 6561250 w 10494875"/>
                <a:gd name="connsiteY25" fmla="*/ 11366377 h 11441065"/>
                <a:gd name="connsiteX26" fmla="*/ 8369295 w 10494875"/>
                <a:gd name="connsiteY26" fmla="*/ 11296803 h 11441065"/>
                <a:gd name="connsiteX27" fmla="*/ 9730436 w 10494875"/>
                <a:gd name="connsiteY27" fmla="*/ 10278619 h 11441065"/>
                <a:gd name="connsiteX28" fmla="*/ 10396727 w 10494875"/>
                <a:gd name="connsiteY28" fmla="*/ 9153458 h 11441065"/>
                <a:gd name="connsiteX29" fmla="*/ 10423855 w 10494875"/>
                <a:gd name="connsiteY29" fmla="*/ 7936668 h 11441065"/>
                <a:gd name="connsiteX30" fmla="*/ 10121899 w 10494875"/>
                <a:gd name="connsiteY30" fmla="*/ 7109237 h 11441065"/>
                <a:gd name="connsiteX31" fmla="*/ 8833476 w 10494875"/>
                <a:gd name="connsiteY31" fmla="*/ 5483107 h 11441065"/>
                <a:gd name="connsiteX32" fmla="*/ 4958141 w 10494875"/>
                <a:gd name="connsiteY32" fmla="*/ 1548532 h 11441065"/>
                <a:gd name="connsiteX33" fmla="*/ 4039132 w 10494875"/>
                <a:gd name="connsiteY33" fmla="*/ 855362 h 11441065"/>
                <a:gd name="connsiteX34" fmla="*/ 3921251 w 10494875"/>
                <a:gd name="connsiteY34" fmla="*/ 953435 h 11441065"/>
                <a:gd name="connsiteX0" fmla="*/ 3891955 w 10465579"/>
                <a:gd name="connsiteY0" fmla="*/ 1843006 h 12330636"/>
                <a:gd name="connsiteX1" fmla="*/ 4521212 w 10465579"/>
                <a:gd name="connsiteY1" fmla="*/ 2540123 h 12330636"/>
                <a:gd name="connsiteX2" fmla="*/ 4347878 w 10465579"/>
                <a:gd name="connsiteY2" fmla="*/ 2617485 h 12330636"/>
                <a:gd name="connsiteX3" fmla="*/ 5746972 w 10465579"/>
                <a:gd name="connsiteY3" fmla="*/ 4203502 h 12330636"/>
                <a:gd name="connsiteX4" fmla="*/ 6019639 w 10465579"/>
                <a:gd name="connsiteY4" fmla="*/ 4525570 h 12330636"/>
                <a:gd name="connsiteX5" fmla="*/ 3946896 w 10465579"/>
                <a:gd name="connsiteY5" fmla="*/ 5369041 h 12330636"/>
                <a:gd name="connsiteX6" fmla="*/ 4061814 w 10465579"/>
                <a:gd name="connsiteY6" fmla="*/ 5642268 h 12330636"/>
                <a:gd name="connsiteX7" fmla="*/ 4739782 w 10465579"/>
                <a:gd name="connsiteY7" fmla="*/ 5362268 h 12330636"/>
                <a:gd name="connsiteX8" fmla="*/ 5059543 w 10465579"/>
                <a:gd name="connsiteY8" fmla="*/ 5877391 h 12330636"/>
                <a:gd name="connsiteX9" fmla="*/ 6689761 w 10465579"/>
                <a:gd name="connsiteY9" fmla="*/ 5180546 h 12330636"/>
                <a:gd name="connsiteX10" fmla="*/ 7757799 w 10465579"/>
                <a:gd name="connsiteY10" fmla="*/ 6348506 h 12330636"/>
                <a:gd name="connsiteX11" fmla="*/ 8073748 w 10465579"/>
                <a:gd name="connsiteY11" fmla="*/ 6147378 h 12330636"/>
                <a:gd name="connsiteX12" fmla="*/ 9306322 w 10465579"/>
                <a:gd name="connsiteY12" fmla="*/ 7416577 h 12330636"/>
                <a:gd name="connsiteX13" fmla="*/ 9872671 w 10465579"/>
                <a:gd name="connsiteY13" fmla="*/ 7957342 h 12330636"/>
                <a:gd name="connsiteX14" fmla="*/ 10241915 w 10465579"/>
                <a:gd name="connsiteY14" fmla="*/ 8874372 h 12330636"/>
                <a:gd name="connsiteX15" fmla="*/ 10203432 w 10465579"/>
                <a:gd name="connsiteY15" fmla="*/ 9962248 h 12330636"/>
                <a:gd name="connsiteX16" fmla="*/ 9637549 w 10465579"/>
                <a:gd name="connsiteY16" fmla="*/ 10961588 h 12330636"/>
                <a:gd name="connsiteX17" fmla="*/ 8257148 w 10465579"/>
                <a:gd name="connsiteY17" fmla="*/ 11961004 h 12330636"/>
                <a:gd name="connsiteX18" fmla="*/ 6633361 w 10465579"/>
                <a:gd name="connsiteY18" fmla="*/ 12052236 h 12330636"/>
                <a:gd name="connsiteX19" fmla="*/ 5187085 w 10465579"/>
                <a:gd name="connsiteY19" fmla="*/ 11320918 h 12330636"/>
                <a:gd name="connsiteX20" fmla="*/ 4248876 w 10465579"/>
                <a:gd name="connsiteY20" fmla="*/ 9937491 h 12330636"/>
                <a:gd name="connsiteX21" fmla="*/ 686240 w 10465579"/>
                <a:gd name="connsiteY21" fmla="*/ 0 h 12330636"/>
                <a:gd name="connsiteX22" fmla="*/ 0 w 10465579"/>
                <a:gd name="connsiteY22" fmla="*/ 1480222 h 12330636"/>
                <a:gd name="connsiteX23" fmla="*/ 4026973 w 10465579"/>
                <a:gd name="connsiteY23" fmla="*/ 10336690 h 12330636"/>
                <a:gd name="connsiteX24" fmla="*/ 5042644 w 10465579"/>
                <a:gd name="connsiteY24" fmla="*/ 11544637 h 12330636"/>
                <a:gd name="connsiteX25" fmla="*/ 6531954 w 10465579"/>
                <a:gd name="connsiteY25" fmla="*/ 12255948 h 12330636"/>
                <a:gd name="connsiteX26" fmla="*/ 8339999 w 10465579"/>
                <a:gd name="connsiteY26" fmla="*/ 12186374 h 12330636"/>
                <a:gd name="connsiteX27" fmla="*/ 9701140 w 10465579"/>
                <a:gd name="connsiteY27" fmla="*/ 11168190 h 12330636"/>
                <a:gd name="connsiteX28" fmla="*/ 10367431 w 10465579"/>
                <a:gd name="connsiteY28" fmla="*/ 10043029 h 12330636"/>
                <a:gd name="connsiteX29" fmla="*/ 10394559 w 10465579"/>
                <a:gd name="connsiteY29" fmla="*/ 8826239 h 12330636"/>
                <a:gd name="connsiteX30" fmla="*/ 10092603 w 10465579"/>
                <a:gd name="connsiteY30" fmla="*/ 7998808 h 12330636"/>
                <a:gd name="connsiteX31" fmla="*/ 8804180 w 10465579"/>
                <a:gd name="connsiteY31" fmla="*/ 6372678 h 12330636"/>
                <a:gd name="connsiteX32" fmla="*/ 4928845 w 10465579"/>
                <a:gd name="connsiteY32" fmla="*/ 2438103 h 12330636"/>
                <a:gd name="connsiteX33" fmla="*/ 4009836 w 10465579"/>
                <a:gd name="connsiteY33" fmla="*/ 1744933 h 12330636"/>
                <a:gd name="connsiteX34" fmla="*/ 3891955 w 10465579"/>
                <a:gd name="connsiteY34" fmla="*/ 1843006 h 12330636"/>
                <a:gd name="connsiteX0" fmla="*/ 3266728 w 9840352"/>
                <a:gd name="connsiteY0" fmla="*/ 1843006 h 12330636"/>
                <a:gd name="connsiteX1" fmla="*/ 3895985 w 9840352"/>
                <a:gd name="connsiteY1" fmla="*/ 2540123 h 12330636"/>
                <a:gd name="connsiteX2" fmla="*/ 3722651 w 9840352"/>
                <a:gd name="connsiteY2" fmla="*/ 2617485 h 12330636"/>
                <a:gd name="connsiteX3" fmla="*/ 5121745 w 9840352"/>
                <a:gd name="connsiteY3" fmla="*/ 4203502 h 12330636"/>
                <a:gd name="connsiteX4" fmla="*/ 5394412 w 9840352"/>
                <a:gd name="connsiteY4" fmla="*/ 4525570 h 12330636"/>
                <a:gd name="connsiteX5" fmla="*/ 3321669 w 9840352"/>
                <a:gd name="connsiteY5" fmla="*/ 5369041 h 12330636"/>
                <a:gd name="connsiteX6" fmla="*/ 3436587 w 9840352"/>
                <a:gd name="connsiteY6" fmla="*/ 5642268 h 12330636"/>
                <a:gd name="connsiteX7" fmla="*/ 4114555 w 9840352"/>
                <a:gd name="connsiteY7" fmla="*/ 5362268 h 12330636"/>
                <a:gd name="connsiteX8" fmla="*/ 4434316 w 9840352"/>
                <a:gd name="connsiteY8" fmla="*/ 5877391 h 12330636"/>
                <a:gd name="connsiteX9" fmla="*/ 6064534 w 9840352"/>
                <a:gd name="connsiteY9" fmla="*/ 5180546 h 12330636"/>
                <a:gd name="connsiteX10" fmla="*/ 7132572 w 9840352"/>
                <a:gd name="connsiteY10" fmla="*/ 6348506 h 12330636"/>
                <a:gd name="connsiteX11" fmla="*/ 7448521 w 9840352"/>
                <a:gd name="connsiteY11" fmla="*/ 6147378 h 12330636"/>
                <a:gd name="connsiteX12" fmla="*/ 8681095 w 9840352"/>
                <a:gd name="connsiteY12" fmla="*/ 7416577 h 12330636"/>
                <a:gd name="connsiteX13" fmla="*/ 9247444 w 9840352"/>
                <a:gd name="connsiteY13" fmla="*/ 7957342 h 12330636"/>
                <a:gd name="connsiteX14" fmla="*/ 9616688 w 9840352"/>
                <a:gd name="connsiteY14" fmla="*/ 8874372 h 12330636"/>
                <a:gd name="connsiteX15" fmla="*/ 9578205 w 9840352"/>
                <a:gd name="connsiteY15" fmla="*/ 9962248 h 12330636"/>
                <a:gd name="connsiteX16" fmla="*/ 9012322 w 9840352"/>
                <a:gd name="connsiteY16" fmla="*/ 10961588 h 12330636"/>
                <a:gd name="connsiteX17" fmla="*/ 7631921 w 9840352"/>
                <a:gd name="connsiteY17" fmla="*/ 11961004 h 12330636"/>
                <a:gd name="connsiteX18" fmla="*/ 6008134 w 9840352"/>
                <a:gd name="connsiteY18" fmla="*/ 12052236 h 12330636"/>
                <a:gd name="connsiteX19" fmla="*/ 4561858 w 9840352"/>
                <a:gd name="connsiteY19" fmla="*/ 11320918 h 12330636"/>
                <a:gd name="connsiteX20" fmla="*/ 3623649 w 9840352"/>
                <a:gd name="connsiteY20" fmla="*/ 9937491 h 12330636"/>
                <a:gd name="connsiteX21" fmla="*/ 61013 w 9840352"/>
                <a:gd name="connsiteY21" fmla="*/ 0 h 12330636"/>
                <a:gd name="connsiteX22" fmla="*/ 0 w 9840352"/>
                <a:gd name="connsiteY22" fmla="*/ 952344 h 12330636"/>
                <a:gd name="connsiteX23" fmla="*/ 3401746 w 9840352"/>
                <a:gd name="connsiteY23" fmla="*/ 10336690 h 12330636"/>
                <a:gd name="connsiteX24" fmla="*/ 4417417 w 9840352"/>
                <a:gd name="connsiteY24" fmla="*/ 11544637 h 12330636"/>
                <a:gd name="connsiteX25" fmla="*/ 5906727 w 9840352"/>
                <a:gd name="connsiteY25" fmla="*/ 12255948 h 12330636"/>
                <a:gd name="connsiteX26" fmla="*/ 7714772 w 9840352"/>
                <a:gd name="connsiteY26" fmla="*/ 12186374 h 12330636"/>
                <a:gd name="connsiteX27" fmla="*/ 9075913 w 9840352"/>
                <a:gd name="connsiteY27" fmla="*/ 11168190 h 12330636"/>
                <a:gd name="connsiteX28" fmla="*/ 9742204 w 9840352"/>
                <a:gd name="connsiteY28" fmla="*/ 10043029 h 12330636"/>
                <a:gd name="connsiteX29" fmla="*/ 9769332 w 9840352"/>
                <a:gd name="connsiteY29" fmla="*/ 8826239 h 12330636"/>
                <a:gd name="connsiteX30" fmla="*/ 9467376 w 9840352"/>
                <a:gd name="connsiteY30" fmla="*/ 7998808 h 12330636"/>
                <a:gd name="connsiteX31" fmla="*/ 8178953 w 9840352"/>
                <a:gd name="connsiteY31" fmla="*/ 6372678 h 12330636"/>
                <a:gd name="connsiteX32" fmla="*/ 4303618 w 9840352"/>
                <a:gd name="connsiteY32" fmla="*/ 2438103 h 12330636"/>
                <a:gd name="connsiteX33" fmla="*/ 3384609 w 9840352"/>
                <a:gd name="connsiteY33" fmla="*/ 1744933 h 12330636"/>
                <a:gd name="connsiteX34" fmla="*/ 3266728 w 9840352"/>
                <a:gd name="connsiteY34" fmla="*/ 1843006 h 12330636"/>
                <a:gd name="connsiteX0" fmla="*/ 3266728 w 9840352"/>
                <a:gd name="connsiteY0" fmla="*/ 1862558 h 12350188"/>
                <a:gd name="connsiteX1" fmla="*/ 3895985 w 9840352"/>
                <a:gd name="connsiteY1" fmla="*/ 2559675 h 12350188"/>
                <a:gd name="connsiteX2" fmla="*/ 3722651 w 9840352"/>
                <a:gd name="connsiteY2" fmla="*/ 2637037 h 12350188"/>
                <a:gd name="connsiteX3" fmla="*/ 5121745 w 9840352"/>
                <a:gd name="connsiteY3" fmla="*/ 4223054 h 12350188"/>
                <a:gd name="connsiteX4" fmla="*/ 5394412 w 9840352"/>
                <a:gd name="connsiteY4" fmla="*/ 4545122 h 12350188"/>
                <a:gd name="connsiteX5" fmla="*/ 3321669 w 9840352"/>
                <a:gd name="connsiteY5" fmla="*/ 5388593 h 12350188"/>
                <a:gd name="connsiteX6" fmla="*/ 3436587 w 9840352"/>
                <a:gd name="connsiteY6" fmla="*/ 5661820 h 12350188"/>
                <a:gd name="connsiteX7" fmla="*/ 4114555 w 9840352"/>
                <a:gd name="connsiteY7" fmla="*/ 5381820 h 12350188"/>
                <a:gd name="connsiteX8" fmla="*/ 4434316 w 9840352"/>
                <a:gd name="connsiteY8" fmla="*/ 5896943 h 12350188"/>
                <a:gd name="connsiteX9" fmla="*/ 6064534 w 9840352"/>
                <a:gd name="connsiteY9" fmla="*/ 5200098 h 12350188"/>
                <a:gd name="connsiteX10" fmla="*/ 7132572 w 9840352"/>
                <a:gd name="connsiteY10" fmla="*/ 6368058 h 12350188"/>
                <a:gd name="connsiteX11" fmla="*/ 7448521 w 9840352"/>
                <a:gd name="connsiteY11" fmla="*/ 6166930 h 12350188"/>
                <a:gd name="connsiteX12" fmla="*/ 8681095 w 9840352"/>
                <a:gd name="connsiteY12" fmla="*/ 7436129 h 12350188"/>
                <a:gd name="connsiteX13" fmla="*/ 9247444 w 9840352"/>
                <a:gd name="connsiteY13" fmla="*/ 7976894 h 12350188"/>
                <a:gd name="connsiteX14" fmla="*/ 9616688 w 9840352"/>
                <a:gd name="connsiteY14" fmla="*/ 8893924 h 12350188"/>
                <a:gd name="connsiteX15" fmla="*/ 9578205 w 9840352"/>
                <a:gd name="connsiteY15" fmla="*/ 9981800 h 12350188"/>
                <a:gd name="connsiteX16" fmla="*/ 9012322 w 9840352"/>
                <a:gd name="connsiteY16" fmla="*/ 10981140 h 12350188"/>
                <a:gd name="connsiteX17" fmla="*/ 7631921 w 9840352"/>
                <a:gd name="connsiteY17" fmla="*/ 11980556 h 12350188"/>
                <a:gd name="connsiteX18" fmla="*/ 6008134 w 9840352"/>
                <a:gd name="connsiteY18" fmla="*/ 12071788 h 12350188"/>
                <a:gd name="connsiteX19" fmla="*/ 4561858 w 9840352"/>
                <a:gd name="connsiteY19" fmla="*/ 11340470 h 12350188"/>
                <a:gd name="connsiteX20" fmla="*/ 3623649 w 9840352"/>
                <a:gd name="connsiteY20" fmla="*/ 9957043 h 12350188"/>
                <a:gd name="connsiteX21" fmla="*/ 5439 w 9840352"/>
                <a:gd name="connsiteY21" fmla="*/ 0 h 12350188"/>
                <a:gd name="connsiteX22" fmla="*/ 0 w 9840352"/>
                <a:gd name="connsiteY22" fmla="*/ 971896 h 12350188"/>
                <a:gd name="connsiteX23" fmla="*/ 3401746 w 9840352"/>
                <a:gd name="connsiteY23" fmla="*/ 10356242 h 12350188"/>
                <a:gd name="connsiteX24" fmla="*/ 4417417 w 9840352"/>
                <a:gd name="connsiteY24" fmla="*/ 11564189 h 12350188"/>
                <a:gd name="connsiteX25" fmla="*/ 5906727 w 9840352"/>
                <a:gd name="connsiteY25" fmla="*/ 12275500 h 12350188"/>
                <a:gd name="connsiteX26" fmla="*/ 7714772 w 9840352"/>
                <a:gd name="connsiteY26" fmla="*/ 12205926 h 12350188"/>
                <a:gd name="connsiteX27" fmla="*/ 9075913 w 9840352"/>
                <a:gd name="connsiteY27" fmla="*/ 11187742 h 12350188"/>
                <a:gd name="connsiteX28" fmla="*/ 9742204 w 9840352"/>
                <a:gd name="connsiteY28" fmla="*/ 10062581 h 12350188"/>
                <a:gd name="connsiteX29" fmla="*/ 9769332 w 9840352"/>
                <a:gd name="connsiteY29" fmla="*/ 8845791 h 12350188"/>
                <a:gd name="connsiteX30" fmla="*/ 9467376 w 9840352"/>
                <a:gd name="connsiteY30" fmla="*/ 8018360 h 12350188"/>
                <a:gd name="connsiteX31" fmla="*/ 8178953 w 9840352"/>
                <a:gd name="connsiteY31" fmla="*/ 6392230 h 12350188"/>
                <a:gd name="connsiteX32" fmla="*/ 4303618 w 9840352"/>
                <a:gd name="connsiteY32" fmla="*/ 2457655 h 12350188"/>
                <a:gd name="connsiteX33" fmla="*/ 3384609 w 9840352"/>
                <a:gd name="connsiteY33" fmla="*/ 1764485 h 12350188"/>
                <a:gd name="connsiteX34" fmla="*/ 3266728 w 9840352"/>
                <a:gd name="connsiteY34" fmla="*/ 1862558 h 123501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9840352" h="12350188">
                  <a:moveTo>
                    <a:pt x="3266728" y="1862558"/>
                  </a:moveTo>
                  <a:lnTo>
                    <a:pt x="3895985" y="2559675"/>
                  </a:lnTo>
                  <a:lnTo>
                    <a:pt x="3722651" y="2637037"/>
                  </a:lnTo>
                  <a:lnTo>
                    <a:pt x="5121745" y="4223054"/>
                  </a:lnTo>
                  <a:lnTo>
                    <a:pt x="5394412" y="4545122"/>
                  </a:lnTo>
                  <a:lnTo>
                    <a:pt x="3321669" y="5388593"/>
                  </a:lnTo>
                  <a:lnTo>
                    <a:pt x="3436587" y="5661820"/>
                  </a:lnTo>
                  <a:lnTo>
                    <a:pt x="4114555" y="5381820"/>
                  </a:lnTo>
                  <a:lnTo>
                    <a:pt x="4434316" y="5896943"/>
                  </a:lnTo>
                  <a:lnTo>
                    <a:pt x="6064534" y="5200098"/>
                  </a:lnTo>
                  <a:lnTo>
                    <a:pt x="7132572" y="6368058"/>
                  </a:lnTo>
                  <a:lnTo>
                    <a:pt x="7448521" y="6166930"/>
                  </a:lnTo>
                  <a:lnTo>
                    <a:pt x="8681095" y="7436129"/>
                  </a:lnTo>
                  <a:lnTo>
                    <a:pt x="9247444" y="7976894"/>
                  </a:lnTo>
                  <a:lnTo>
                    <a:pt x="9616688" y="8893924"/>
                  </a:lnTo>
                  <a:cubicBezTo>
                    <a:pt x="9677604" y="9167793"/>
                    <a:pt x="9678933" y="9633931"/>
                    <a:pt x="9578205" y="9981800"/>
                  </a:cubicBezTo>
                  <a:cubicBezTo>
                    <a:pt x="9477477" y="10329669"/>
                    <a:pt x="9336703" y="10648014"/>
                    <a:pt x="9012322" y="10981140"/>
                  </a:cubicBezTo>
                  <a:cubicBezTo>
                    <a:pt x="8687941" y="11314266"/>
                    <a:pt x="8132619" y="11798781"/>
                    <a:pt x="7631921" y="11980556"/>
                  </a:cubicBezTo>
                  <a:cubicBezTo>
                    <a:pt x="7131223" y="12162331"/>
                    <a:pt x="6519811" y="12178469"/>
                    <a:pt x="6008134" y="12071788"/>
                  </a:cubicBezTo>
                  <a:cubicBezTo>
                    <a:pt x="5496457" y="11965107"/>
                    <a:pt x="4958114" y="11631016"/>
                    <a:pt x="4561858" y="11340470"/>
                  </a:cubicBezTo>
                  <a:lnTo>
                    <a:pt x="3623649" y="9957043"/>
                  </a:lnTo>
                  <a:lnTo>
                    <a:pt x="5439" y="0"/>
                  </a:lnTo>
                  <a:lnTo>
                    <a:pt x="0" y="971896"/>
                  </a:lnTo>
                  <a:lnTo>
                    <a:pt x="3401746" y="10356242"/>
                  </a:lnTo>
                  <a:lnTo>
                    <a:pt x="4417417" y="11564189"/>
                  </a:lnTo>
                  <a:cubicBezTo>
                    <a:pt x="4848807" y="11825413"/>
                    <a:pt x="5357168" y="12168544"/>
                    <a:pt x="5906727" y="12275500"/>
                  </a:cubicBezTo>
                  <a:cubicBezTo>
                    <a:pt x="6456286" y="12382456"/>
                    <a:pt x="7186574" y="12387219"/>
                    <a:pt x="7714772" y="12205926"/>
                  </a:cubicBezTo>
                  <a:cubicBezTo>
                    <a:pt x="8242970" y="12024633"/>
                    <a:pt x="8738008" y="11544966"/>
                    <a:pt x="9075913" y="11187742"/>
                  </a:cubicBezTo>
                  <a:cubicBezTo>
                    <a:pt x="9413818" y="10830518"/>
                    <a:pt x="9626634" y="10452906"/>
                    <a:pt x="9742204" y="10062581"/>
                  </a:cubicBezTo>
                  <a:cubicBezTo>
                    <a:pt x="9857774" y="9672256"/>
                    <a:pt x="9876931" y="9004295"/>
                    <a:pt x="9769332" y="8845791"/>
                  </a:cubicBezTo>
                  <a:cubicBezTo>
                    <a:pt x="9668680" y="8569981"/>
                    <a:pt x="9609707" y="8294171"/>
                    <a:pt x="9467376" y="8018360"/>
                  </a:cubicBezTo>
                  <a:lnTo>
                    <a:pt x="8178953" y="6392230"/>
                  </a:lnTo>
                  <a:lnTo>
                    <a:pt x="4303618" y="2457655"/>
                  </a:lnTo>
                  <a:lnTo>
                    <a:pt x="3384609" y="1764485"/>
                  </a:lnTo>
                  <a:lnTo>
                    <a:pt x="3266728" y="1862558"/>
                  </a:lnTo>
                  <a:close/>
                </a:path>
              </a:pathLst>
            </a:custGeom>
            <a:solidFill>
              <a:srgbClr val="FF0000">
                <a:alpha val="40000"/>
              </a:srgbClr>
            </a:solidFill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Полилиния 17"/>
            <p:cNvSpPr/>
            <p:nvPr/>
          </p:nvSpPr>
          <p:spPr>
            <a:xfrm>
              <a:off x="3395019" y="4376301"/>
              <a:ext cx="2103885" cy="1017600"/>
            </a:xfrm>
            <a:custGeom>
              <a:avLst/>
              <a:gdLst>
                <a:gd name="connsiteX0" fmla="*/ 0 w 1099751"/>
                <a:gd name="connsiteY0" fmla="*/ 181232 h 391297"/>
                <a:gd name="connsiteX1" fmla="*/ 527221 w 1099751"/>
                <a:gd name="connsiteY1" fmla="*/ 28832 h 391297"/>
                <a:gd name="connsiteX2" fmla="*/ 691978 w 1099751"/>
                <a:gd name="connsiteY2" fmla="*/ 70022 h 391297"/>
                <a:gd name="connsiteX3" fmla="*/ 869091 w 1099751"/>
                <a:gd name="connsiteY3" fmla="*/ 0 h 391297"/>
                <a:gd name="connsiteX4" fmla="*/ 1099751 w 1099751"/>
                <a:gd name="connsiteY4" fmla="*/ 82378 h 391297"/>
                <a:gd name="connsiteX5" fmla="*/ 1013254 w 1099751"/>
                <a:gd name="connsiteY5" fmla="*/ 115330 h 391297"/>
                <a:gd name="connsiteX6" fmla="*/ 1050324 w 1099751"/>
                <a:gd name="connsiteY6" fmla="*/ 135924 h 391297"/>
                <a:gd name="connsiteX7" fmla="*/ 885567 w 1099751"/>
                <a:gd name="connsiteY7" fmla="*/ 189470 h 391297"/>
                <a:gd name="connsiteX8" fmla="*/ 963827 w 1099751"/>
                <a:gd name="connsiteY8" fmla="*/ 226540 h 391297"/>
                <a:gd name="connsiteX9" fmla="*/ 473675 w 1099751"/>
                <a:gd name="connsiteY9" fmla="*/ 391297 h 391297"/>
                <a:gd name="connsiteX10" fmla="*/ 0 w 1099751"/>
                <a:gd name="connsiteY10" fmla="*/ 181232 h 391297"/>
                <a:gd name="connsiteX0" fmla="*/ 0 w 1099751"/>
                <a:gd name="connsiteY0" fmla="*/ 309418 h 519483"/>
                <a:gd name="connsiteX1" fmla="*/ 859731 w 1099751"/>
                <a:gd name="connsiteY1" fmla="*/ 0 h 519483"/>
                <a:gd name="connsiteX2" fmla="*/ 691978 w 1099751"/>
                <a:gd name="connsiteY2" fmla="*/ 198208 h 519483"/>
                <a:gd name="connsiteX3" fmla="*/ 869091 w 1099751"/>
                <a:gd name="connsiteY3" fmla="*/ 128186 h 519483"/>
                <a:gd name="connsiteX4" fmla="*/ 1099751 w 1099751"/>
                <a:gd name="connsiteY4" fmla="*/ 210564 h 519483"/>
                <a:gd name="connsiteX5" fmla="*/ 1013254 w 1099751"/>
                <a:gd name="connsiteY5" fmla="*/ 243516 h 519483"/>
                <a:gd name="connsiteX6" fmla="*/ 1050324 w 1099751"/>
                <a:gd name="connsiteY6" fmla="*/ 264110 h 519483"/>
                <a:gd name="connsiteX7" fmla="*/ 885567 w 1099751"/>
                <a:gd name="connsiteY7" fmla="*/ 317656 h 519483"/>
                <a:gd name="connsiteX8" fmla="*/ 963827 w 1099751"/>
                <a:gd name="connsiteY8" fmla="*/ 354726 h 519483"/>
                <a:gd name="connsiteX9" fmla="*/ 473675 w 1099751"/>
                <a:gd name="connsiteY9" fmla="*/ 519483 h 519483"/>
                <a:gd name="connsiteX10" fmla="*/ 0 w 1099751"/>
                <a:gd name="connsiteY10" fmla="*/ 309418 h 519483"/>
                <a:gd name="connsiteX0" fmla="*/ 0 w 1099751"/>
                <a:gd name="connsiteY0" fmla="*/ 309418 h 519483"/>
                <a:gd name="connsiteX1" fmla="*/ 859731 w 1099751"/>
                <a:gd name="connsiteY1" fmla="*/ 0 h 519483"/>
                <a:gd name="connsiteX2" fmla="*/ 965990 w 1099751"/>
                <a:gd name="connsiteY2" fmla="*/ 87372 h 519483"/>
                <a:gd name="connsiteX3" fmla="*/ 869091 w 1099751"/>
                <a:gd name="connsiteY3" fmla="*/ 128186 h 519483"/>
                <a:gd name="connsiteX4" fmla="*/ 1099751 w 1099751"/>
                <a:gd name="connsiteY4" fmla="*/ 210564 h 519483"/>
                <a:gd name="connsiteX5" fmla="*/ 1013254 w 1099751"/>
                <a:gd name="connsiteY5" fmla="*/ 243516 h 519483"/>
                <a:gd name="connsiteX6" fmla="*/ 1050324 w 1099751"/>
                <a:gd name="connsiteY6" fmla="*/ 264110 h 519483"/>
                <a:gd name="connsiteX7" fmla="*/ 885567 w 1099751"/>
                <a:gd name="connsiteY7" fmla="*/ 317656 h 519483"/>
                <a:gd name="connsiteX8" fmla="*/ 963827 w 1099751"/>
                <a:gd name="connsiteY8" fmla="*/ 354726 h 519483"/>
                <a:gd name="connsiteX9" fmla="*/ 473675 w 1099751"/>
                <a:gd name="connsiteY9" fmla="*/ 519483 h 519483"/>
                <a:gd name="connsiteX10" fmla="*/ 0 w 1099751"/>
                <a:gd name="connsiteY10" fmla="*/ 309418 h 519483"/>
                <a:gd name="connsiteX0" fmla="*/ 0 w 1210837"/>
                <a:gd name="connsiteY0" fmla="*/ 309418 h 519483"/>
                <a:gd name="connsiteX1" fmla="*/ 859731 w 1210837"/>
                <a:gd name="connsiteY1" fmla="*/ 0 h 519483"/>
                <a:gd name="connsiteX2" fmla="*/ 965990 w 1210837"/>
                <a:gd name="connsiteY2" fmla="*/ 87372 h 519483"/>
                <a:gd name="connsiteX3" fmla="*/ 1210837 w 1210837"/>
                <a:gd name="connsiteY3" fmla="*/ 5034 h 519483"/>
                <a:gd name="connsiteX4" fmla="*/ 1099751 w 1210837"/>
                <a:gd name="connsiteY4" fmla="*/ 210564 h 519483"/>
                <a:gd name="connsiteX5" fmla="*/ 1013254 w 1210837"/>
                <a:gd name="connsiteY5" fmla="*/ 243516 h 519483"/>
                <a:gd name="connsiteX6" fmla="*/ 1050324 w 1210837"/>
                <a:gd name="connsiteY6" fmla="*/ 264110 h 519483"/>
                <a:gd name="connsiteX7" fmla="*/ 885567 w 1210837"/>
                <a:gd name="connsiteY7" fmla="*/ 317656 h 519483"/>
                <a:gd name="connsiteX8" fmla="*/ 963827 w 1210837"/>
                <a:gd name="connsiteY8" fmla="*/ 354726 h 519483"/>
                <a:gd name="connsiteX9" fmla="*/ 473675 w 1210837"/>
                <a:gd name="connsiteY9" fmla="*/ 519483 h 519483"/>
                <a:gd name="connsiteX10" fmla="*/ 0 w 1210837"/>
                <a:gd name="connsiteY10" fmla="*/ 309418 h 519483"/>
                <a:gd name="connsiteX0" fmla="*/ 0 w 1481520"/>
                <a:gd name="connsiteY0" fmla="*/ 309418 h 519483"/>
                <a:gd name="connsiteX1" fmla="*/ 859731 w 1481520"/>
                <a:gd name="connsiteY1" fmla="*/ 0 h 519483"/>
                <a:gd name="connsiteX2" fmla="*/ 965990 w 1481520"/>
                <a:gd name="connsiteY2" fmla="*/ 87372 h 519483"/>
                <a:gd name="connsiteX3" fmla="*/ 1210837 w 1481520"/>
                <a:gd name="connsiteY3" fmla="*/ 5034 h 519483"/>
                <a:gd name="connsiteX4" fmla="*/ 1481520 w 1481520"/>
                <a:gd name="connsiteY4" fmla="*/ 189012 h 519483"/>
                <a:gd name="connsiteX5" fmla="*/ 1013254 w 1481520"/>
                <a:gd name="connsiteY5" fmla="*/ 243516 h 519483"/>
                <a:gd name="connsiteX6" fmla="*/ 1050324 w 1481520"/>
                <a:gd name="connsiteY6" fmla="*/ 264110 h 519483"/>
                <a:gd name="connsiteX7" fmla="*/ 885567 w 1481520"/>
                <a:gd name="connsiteY7" fmla="*/ 317656 h 519483"/>
                <a:gd name="connsiteX8" fmla="*/ 963827 w 1481520"/>
                <a:gd name="connsiteY8" fmla="*/ 354726 h 519483"/>
                <a:gd name="connsiteX9" fmla="*/ 473675 w 1481520"/>
                <a:gd name="connsiteY9" fmla="*/ 519483 h 519483"/>
                <a:gd name="connsiteX10" fmla="*/ 0 w 1481520"/>
                <a:gd name="connsiteY10" fmla="*/ 309418 h 519483"/>
                <a:gd name="connsiteX0" fmla="*/ 0 w 1481520"/>
                <a:gd name="connsiteY0" fmla="*/ 309418 h 519483"/>
                <a:gd name="connsiteX1" fmla="*/ 859731 w 1481520"/>
                <a:gd name="connsiteY1" fmla="*/ 0 h 519483"/>
                <a:gd name="connsiteX2" fmla="*/ 965990 w 1481520"/>
                <a:gd name="connsiteY2" fmla="*/ 87372 h 519483"/>
                <a:gd name="connsiteX3" fmla="*/ 1210837 w 1481520"/>
                <a:gd name="connsiteY3" fmla="*/ 5034 h 519483"/>
                <a:gd name="connsiteX4" fmla="*/ 1481520 w 1481520"/>
                <a:gd name="connsiteY4" fmla="*/ 189012 h 519483"/>
                <a:gd name="connsiteX5" fmla="*/ 1262636 w 1481520"/>
                <a:gd name="connsiteY5" fmla="*/ 258910 h 519483"/>
                <a:gd name="connsiteX6" fmla="*/ 1050324 w 1481520"/>
                <a:gd name="connsiteY6" fmla="*/ 264110 h 519483"/>
                <a:gd name="connsiteX7" fmla="*/ 885567 w 1481520"/>
                <a:gd name="connsiteY7" fmla="*/ 317656 h 519483"/>
                <a:gd name="connsiteX8" fmla="*/ 963827 w 1481520"/>
                <a:gd name="connsiteY8" fmla="*/ 354726 h 519483"/>
                <a:gd name="connsiteX9" fmla="*/ 473675 w 1481520"/>
                <a:gd name="connsiteY9" fmla="*/ 519483 h 519483"/>
                <a:gd name="connsiteX10" fmla="*/ 0 w 1481520"/>
                <a:gd name="connsiteY10" fmla="*/ 309418 h 519483"/>
                <a:gd name="connsiteX0" fmla="*/ 0 w 1481520"/>
                <a:gd name="connsiteY0" fmla="*/ 309418 h 519483"/>
                <a:gd name="connsiteX1" fmla="*/ 859731 w 1481520"/>
                <a:gd name="connsiteY1" fmla="*/ 0 h 519483"/>
                <a:gd name="connsiteX2" fmla="*/ 965990 w 1481520"/>
                <a:gd name="connsiteY2" fmla="*/ 87372 h 519483"/>
                <a:gd name="connsiteX3" fmla="*/ 1210837 w 1481520"/>
                <a:gd name="connsiteY3" fmla="*/ 5034 h 519483"/>
                <a:gd name="connsiteX4" fmla="*/ 1481520 w 1481520"/>
                <a:gd name="connsiteY4" fmla="*/ 189012 h 519483"/>
                <a:gd name="connsiteX5" fmla="*/ 1262636 w 1481520"/>
                <a:gd name="connsiteY5" fmla="*/ 258910 h 519483"/>
                <a:gd name="connsiteX6" fmla="*/ 1392069 w 1481520"/>
                <a:gd name="connsiteY6" fmla="*/ 362631 h 519483"/>
                <a:gd name="connsiteX7" fmla="*/ 885567 w 1481520"/>
                <a:gd name="connsiteY7" fmla="*/ 317656 h 519483"/>
                <a:gd name="connsiteX8" fmla="*/ 963827 w 1481520"/>
                <a:gd name="connsiteY8" fmla="*/ 354726 h 519483"/>
                <a:gd name="connsiteX9" fmla="*/ 473675 w 1481520"/>
                <a:gd name="connsiteY9" fmla="*/ 519483 h 519483"/>
                <a:gd name="connsiteX10" fmla="*/ 0 w 1481520"/>
                <a:gd name="connsiteY10" fmla="*/ 309418 h 519483"/>
                <a:gd name="connsiteX0" fmla="*/ 0 w 1481520"/>
                <a:gd name="connsiteY0" fmla="*/ 309418 h 519483"/>
                <a:gd name="connsiteX1" fmla="*/ 859731 w 1481520"/>
                <a:gd name="connsiteY1" fmla="*/ 0 h 519483"/>
                <a:gd name="connsiteX2" fmla="*/ 965990 w 1481520"/>
                <a:gd name="connsiteY2" fmla="*/ 87372 h 519483"/>
                <a:gd name="connsiteX3" fmla="*/ 1210837 w 1481520"/>
                <a:gd name="connsiteY3" fmla="*/ 5034 h 519483"/>
                <a:gd name="connsiteX4" fmla="*/ 1481520 w 1481520"/>
                <a:gd name="connsiteY4" fmla="*/ 189012 h 519483"/>
                <a:gd name="connsiteX5" fmla="*/ 1262636 w 1481520"/>
                <a:gd name="connsiteY5" fmla="*/ 258910 h 519483"/>
                <a:gd name="connsiteX6" fmla="*/ 1392069 w 1481520"/>
                <a:gd name="connsiteY6" fmla="*/ 362631 h 519483"/>
                <a:gd name="connsiteX7" fmla="*/ 1076451 w 1481520"/>
                <a:gd name="connsiteY7" fmla="*/ 388468 h 519483"/>
                <a:gd name="connsiteX8" fmla="*/ 963827 w 1481520"/>
                <a:gd name="connsiteY8" fmla="*/ 354726 h 519483"/>
                <a:gd name="connsiteX9" fmla="*/ 473675 w 1481520"/>
                <a:gd name="connsiteY9" fmla="*/ 519483 h 519483"/>
                <a:gd name="connsiteX10" fmla="*/ 0 w 1481520"/>
                <a:gd name="connsiteY10" fmla="*/ 309418 h 519483"/>
                <a:gd name="connsiteX0" fmla="*/ 0 w 1481520"/>
                <a:gd name="connsiteY0" fmla="*/ 309418 h 519483"/>
                <a:gd name="connsiteX1" fmla="*/ 859731 w 1481520"/>
                <a:gd name="connsiteY1" fmla="*/ 0 h 519483"/>
                <a:gd name="connsiteX2" fmla="*/ 965990 w 1481520"/>
                <a:gd name="connsiteY2" fmla="*/ 87372 h 519483"/>
                <a:gd name="connsiteX3" fmla="*/ 1210837 w 1481520"/>
                <a:gd name="connsiteY3" fmla="*/ 5034 h 519483"/>
                <a:gd name="connsiteX4" fmla="*/ 1481520 w 1481520"/>
                <a:gd name="connsiteY4" fmla="*/ 189012 h 519483"/>
                <a:gd name="connsiteX5" fmla="*/ 1262636 w 1481520"/>
                <a:gd name="connsiteY5" fmla="*/ 258910 h 519483"/>
                <a:gd name="connsiteX6" fmla="*/ 1324335 w 1481520"/>
                <a:gd name="connsiteY6" fmla="*/ 297976 h 519483"/>
                <a:gd name="connsiteX7" fmla="*/ 1076451 w 1481520"/>
                <a:gd name="connsiteY7" fmla="*/ 388468 h 519483"/>
                <a:gd name="connsiteX8" fmla="*/ 963827 w 1481520"/>
                <a:gd name="connsiteY8" fmla="*/ 354726 h 519483"/>
                <a:gd name="connsiteX9" fmla="*/ 473675 w 1481520"/>
                <a:gd name="connsiteY9" fmla="*/ 519483 h 519483"/>
                <a:gd name="connsiteX10" fmla="*/ 0 w 1481520"/>
                <a:gd name="connsiteY10" fmla="*/ 309418 h 519483"/>
                <a:gd name="connsiteX0" fmla="*/ 0 w 1481520"/>
                <a:gd name="connsiteY0" fmla="*/ 309418 h 519483"/>
                <a:gd name="connsiteX1" fmla="*/ 859731 w 1481520"/>
                <a:gd name="connsiteY1" fmla="*/ 0 h 519483"/>
                <a:gd name="connsiteX2" fmla="*/ 965990 w 1481520"/>
                <a:gd name="connsiteY2" fmla="*/ 87372 h 519483"/>
                <a:gd name="connsiteX3" fmla="*/ 1210837 w 1481520"/>
                <a:gd name="connsiteY3" fmla="*/ 5034 h 519483"/>
                <a:gd name="connsiteX4" fmla="*/ 1481520 w 1481520"/>
                <a:gd name="connsiteY4" fmla="*/ 189012 h 519483"/>
                <a:gd name="connsiteX5" fmla="*/ 1262636 w 1481520"/>
                <a:gd name="connsiteY5" fmla="*/ 258910 h 519483"/>
                <a:gd name="connsiteX6" fmla="*/ 1324335 w 1481520"/>
                <a:gd name="connsiteY6" fmla="*/ 297976 h 519483"/>
                <a:gd name="connsiteX7" fmla="*/ 1076451 w 1481520"/>
                <a:gd name="connsiteY7" fmla="*/ 388468 h 519483"/>
                <a:gd name="connsiteX8" fmla="*/ 1127003 w 1481520"/>
                <a:gd name="connsiteY8" fmla="*/ 462483 h 519483"/>
                <a:gd name="connsiteX9" fmla="*/ 473675 w 1481520"/>
                <a:gd name="connsiteY9" fmla="*/ 519483 h 519483"/>
                <a:gd name="connsiteX10" fmla="*/ 0 w 1481520"/>
                <a:gd name="connsiteY10" fmla="*/ 309418 h 519483"/>
                <a:gd name="connsiteX0" fmla="*/ 0 w 1481520"/>
                <a:gd name="connsiteY0" fmla="*/ 309418 h 519483"/>
                <a:gd name="connsiteX1" fmla="*/ 859731 w 1481520"/>
                <a:gd name="connsiteY1" fmla="*/ 0 h 519483"/>
                <a:gd name="connsiteX2" fmla="*/ 965990 w 1481520"/>
                <a:gd name="connsiteY2" fmla="*/ 87372 h 519483"/>
                <a:gd name="connsiteX3" fmla="*/ 1210837 w 1481520"/>
                <a:gd name="connsiteY3" fmla="*/ 5034 h 519483"/>
                <a:gd name="connsiteX4" fmla="*/ 1481520 w 1481520"/>
                <a:gd name="connsiteY4" fmla="*/ 189012 h 519483"/>
                <a:gd name="connsiteX5" fmla="*/ 1262636 w 1481520"/>
                <a:gd name="connsiteY5" fmla="*/ 258910 h 519483"/>
                <a:gd name="connsiteX6" fmla="*/ 1324335 w 1481520"/>
                <a:gd name="connsiteY6" fmla="*/ 297976 h 519483"/>
                <a:gd name="connsiteX7" fmla="*/ 1076451 w 1481520"/>
                <a:gd name="connsiteY7" fmla="*/ 388468 h 519483"/>
                <a:gd name="connsiteX8" fmla="*/ 1139318 w 1481520"/>
                <a:gd name="connsiteY8" fmla="*/ 450168 h 519483"/>
                <a:gd name="connsiteX9" fmla="*/ 473675 w 1481520"/>
                <a:gd name="connsiteY9" fmla="*/ 519483 h 519483"/>
                <a:gd name="connsiteX10" fmla="*/ 0 w 1481520"/>
                <a:gd name="connsiteY10" fmla="*/ 309418 h 519483"/>
                <a:gd name="connsiteX0" fmla="*/ 0 w 1481520"/>
                <a:gd name="connsiteY0" fmla="*/ 309418 h 694973"/>
                <a:gd name="connsiteX1" fmla="*/ 859731 w 1481520"/>
                <a:gd name="connsiteY1" fmla="*/ 0 h 694973"/>
                <a:gd name="connsiteX2" fmla="*/ 965990 w 1481520"/>
                <a:gd name="connsiteY2" fmla="*/ 87372 h 694973"/>
                <a:gd name="connsiteX3" fmla="*/ 1210837 w 1481520"/>
                <a:gd name="connsiteY3" fmla="*/ 5034 h 694973"/>
                <a:gd name="connsiteX4" fmla="*/ 1481520 w 1481520"/>
                <a:gd name="connsiteY4" fmla="*/ 189012 h 694973"/>
                <a:gd name="connsiteX5" fmla="*/ 1262636 w 1481520"/>
                <a:gd name="connsiteY5" fmla="*/ 258910 h 694973"/>
                <a:gd name="connsiteX6" fmla="*/ 1324335 w 1481520"/>
                <a:gd name="connsiteY6" fmla="*/ 297976 h 694973"/>
                <a:gd name="connsiteX7" fmla="*/ 1076451 w 1481520"/>
                <a:gd name="connsiteY7" fmla="*/ 388468 h 694973"/>
                <a:gd name="connsiteX8" fmla="*/ 1139318 w 1481520"/>
                <a:gd name="connsiteY8" fmla="*/ 450168 h 694973"/>
                <a:gd name="connsiteX9" fmla="*/ 455202 w 1481520"/>
                <a:gd name="connsiteY9" fmla="*/ 694973 h 694973"/>
                <a:gd name="connsiteX10" fmla="*/ 0 w 1481520"/>
                <a:gd name="connsiteY10" fmla="*/ 309418 h 694973"/>
                <a:gd name="connsiteX0" fmla="*/ 0 w 1413787"/>
                <a:gd name="connsiteY0" fmla="*/ 272472 h 694973"/>
                <a:gd name="connsiteX1" fmla="*/ 791998 w 1413787"/>
                <a:gd name="connsiteY1" fmla="*/ 0 h 694973"/>
                <a:gd name="connsiteX2" fmla="*/ 898257 w 1413787"/>
                <a:gd name="connsiteY2" fmla="*/ 87372 h 694973"/>
                <a:gd name="connsiteX3" fmla="*/ 1143104 w 1413787"/>
                <a:gd name="connsiteY3" fmla="*/ 5034 h 694973"/>
                <a:gd name="connsiteX4" fmla="*/ 1413787 w 1413787"/>
                <a:gd name="connsiteY4" fmla="*/ 189012 h 694973"/>
                <a:gd name="connsiteX5" fmla="*/ 1194903 w 1413787"/>
                <a:gd name="connsiteY5" fmla="*/ 258910 h 694973"/>
                <a:gd name="connsiteX6" fmla="*/ 1256602 w 1413787"/>
                <a:gd name="connsiteY6" fmla="*/ 297976 h 694973"/>
                <a:gd name="connsiteX7" fmla="*/ 1008718 w 1413787"/>
                <a:gd name="connsiteY7" fmla="*/ 388468 h 694973"/>
                <a:gd name="connsiteX8" fmla="*/ 1071585 w 1413787"/>
                <a:gd name="connsiteY8" fmla="*/ 450168 h 694973"/>
                <a:gd name="connsiteX9" fmla="*/ 387469 w 1413787"/>
                <a:gd name="connsiteY9" fmla="*/ 694973 h 694973"/>
                <a:gd name="connsiteX10" fmla="*/ 0 w 1413787"/>
                <a:gd name="connsiteY10" fmla="*/ 272472 h 694973"/>
                <a:gd name="connsiteX0" fmla="*/ 0 w 1404551"/>
                <a:gd name="connsiteY0" fmla="*/ 260157 h 694973"/>
                <a:gd name="connsiteX1" fmla="*/ 782762 w 1404551"/>
                <a:gd name="connsiteY1" fmla="*/ 0 h 694973"/>
                <a:gd name="connsiteX2" fmla="*/ 889021 w 1404551"/>
                <a:gd name="connsiteY2" fmla="*/ 87372 h 694973"/>
                <a:gd name="connsiteX3" fmla="*/ 1133868 w 1404551"/>
                <a:gd name="connsiteY3" fmla="*/ 5034 h 694973"/>
                <a:gd name="connsiteX4" fmla="*/ 1404551 w 1404551"/>
                <a:gd name="connsiteY4" fmla="*/ 189012 h 694973"/>
                <a:gd name="connsiteX5" fmla="*/ 1185667 w 1404551"/>
                <a:gd name="connsiteY5" fmla="*/ 258910 h 694973"/>
                <a:gd name="connsiteX6" fmla="*/ 1247366 w 1404551"/>
                <a:gd name="connsiteY6" fmla="*/ 297976 h 694973"/>
                <a:gd name="connsiteX7" fmla="*/ 999482 w 1404551"/>
                <a:gd name="connsiteY7" fmla="*/ 388468 h 694973"/>
                <a:gd name="connsiteX8" fmla="*/ 1062349 w 1404551"/>
                <a:gd name="connsiteY8" fmla="*/ 450168 h 694973"/>
                <a:gd name="connsiteX9" fmla="*/ 378233 w 1404551"/>
                <a:gd name="connsiteY9" fmla="*/ 694973 h 694973"/>
                <a:gd name="connsiteX10" fmla="*/ 0 w 1404551"/>
                <a:gd name="connsiteY10" fmla="*/ 260157 h 694973"/>
                <a:gd name="connsiteX0" fmla="*/ 0 w 1416866"/>
                <a:gd name="connsiteY0" fmla="*/ 272472 h 694973"/>
                <a:gd name="connsiteX1" fmla="*/ 795077 w 1416866"/>
                <a:gd name="connsiteY1" fmla="*/ 0 h 694973"/>
                <a:gd name="connsiteX2" fmla="*/ 901336 w 1416866"/>
                <a:gd name="connsiteY2" fmla="*/ 87372 h 694973"/>
                <a:gd name="connsiteX3" fmla="*/ 1146183 w 1416866"/>
                <a:gd name="connsiteY3" fmla="*/ 5034 h 694973"/>
                <a:gd name="connsiteX4" fmla="*/ 1416866 w 1416866"/>
                <a:gd name="connsiteY4" fmla="*/ 189012 h 694973"/>
                <a:gd name="connsiteX5" fmla="*/ 1197982 w 1416866"/>
                <a:gd name="connsiteY5" fmla="*/ 258910 h 694973"/>
                <a:gd name="connsiteX6" fmla="*/ 1259681 w 1416866"/>
                <a:gd name="connsiteY6" fmla="*/ 297976 h 694973"/>
                <a:gd name="connsiteX7" fmla="*/ 1011797 w 1416866"/>
                <a:gd name="connsiteY7" fmla="*/ 388468 h 694973"/>
                <a:gd name="connsiteX8" fmla="*/ 1074664 w 1416866"/>
                <a:gd name="connsiteY8" fmla="*/ 450168 h 694973"/>
                <a:gd name="connsiteX9" fmla="*/ 390548 w 1416866"/>
                <a:gd name="connsiteY9" fmla="*/ 694973 h 694973"/>
                <a:gd name="connsiteX10" fmla="*/ 0 w 1416866"/>
                <a:gd name="connsiteY10" fmla="*/ 272472 h 694973"/>
                <a:gd name="connsiteX0" fmla="*/ 0 w 1395315"/>
                <a:gd name="connsiteY0" fmla="*/ 272472 h 694973"/>
                <a:gd name="connsiteX1" fmla="*/ 795077 w 1395315"/>
                <a:gd name="connsiteY1" fmla="*/ 0 h 694973"/>
                <a:gd name="connsiteX2" fmla="*/ 901336 w 1395315"/>
                <a:gd name="connsiteY2" fmla="*/ 87372 h 694973"/>
                <a:gd name="connsiteX3" fmla="*/ 1146183 w 1395315"/>
                <a:gd name="connsiteY3" fmla="*/ 5034 h 694973"/>
                <a:gd name="connsiteX4" fmla="*/ 1395315 w 1395315"/>
                <a:gd name="connsiteY4" fmla="*/ 207485 h 694973"/>
                <a:gd name="connsiteX5" fmla="*/ 1197982 w 1395315"/>
                <a:gd name="connsiteY5" fmla="*/ 258910 h 694973"/>
                <a:gd name="connsiteX6" fmla="*/ 1259681 w 1395315"/>
                <a:gd name="connsiteY6" fmla="*/ 297976 h 694973"/>
                <a:gd name="connsiteX7" fmla="*/ 1011797 w 1395315"/>
                <a:gd name="connsiteY7" fmla="*/ 388468 h 694973"/>
                <a:gd name="connsiteX8" fmla="*/ 1074664 w 1395315"/>
                <a:gd name="connsiteY8" fmla="*/ 450168 h 694973"/>
                <a:gd name="connsiteX9" fmla="*/ 390548 w 1395315"/>
                <a:gd name="connsiteY9" fmla="*/ 694973 h 694973"/>
                <a:gd name="connsiteX10" fmla="*/ 0 w 1395315"/>
                <a:gd name="connsiteY10" fmla="*/ 272472 h 694973"/>
                <a:gd name="connsiteX0" fmla="*/ 0 w 1376842"/>
                <a:gd name="connsiteY0" fmla="*/ 272472 h 694973"/>
                <a:gd name="connsiteX1" fmla="*/ 795077 w 1376842"/>
                <a:gd name="connsiteY1" fmla="*/ 0 h 694973"/>
                <a:gd name="connsiteX2" fmla="*/ 901336 w 1376842"/>
                <a:gd name="connsiteY2" fmla="*/ 87372 h 694973"/>
                <a:gd name="connsiteX3" fmla="*/ 1146183 w 1376842"/>
                <a:gd name="connsiteY3" fmla="*/ 5034 h 694973"/>
                <a:gd name="connsiteX4" fmla="*/ 1376842 w 1376842"/>
                <a:gd name="connsiteY4" fmla="*/ 201327 h 694973"/>
                <a:gd name="connsiteX5" fmla="*/ 1197982 w 1376842"/>
                <a:gd name="connsiteY5" fmla="*/ 258910 h 694973"/>
                <a:gd name="connsiteX6" fmla="*/ 1259681 w 1376842"/>
                <a:gd name="connsiteY6" fmla="*/ 297976 h 694973"/>
                <a:gd name="connsiteX7" fmla="*/ 1011797 w 1376842"/>
                <a:gd name="connsiteY7" fmla="*/ 388468 h 694973"/>
                <a:gd name="connsiteX8" fmla="*/ 1074664 w 1376842"/>
                <a:gd name="connsiteY8" fmla="*/ 450168 h 694973"/>
                <a:gd name="connsiteX9" fmla="*/ 390548 w 1376842"/>
                <a:gd name="connsiteY9" fmla="*/ 694973 h 694973"/>
                <a:gd name="connsiteX10" fmla="*/ 0 w 1376842"/>
                <a:gd name="connsiteY10" fmla="*/ 272472 h 694973"/>
                <a:gd name="connsiteX0" fmla="*/ 0 w 1376842"/>
                <a:gd name="connsiteY0" fmla="*/ 318998 h 741499"/>
                <a:gd name="connsiteX1" fmla="*/ 767552 w 1376842"/>
                <a:gd name="connsiteY1" fmla="*/ 0 h 741499"/>
                <a:gd name="connsiteX2" fmla="*/ 901336 w 1376842"/>
                <a:gd name="connsiteY2" fmla="*/ 133898 h 741499"/>
                <a:gd name="connsiteX3" fmla="*/ 1146183 w 1376842"/>
                <a:gd name="connsiteY3" fmla="*/ 51560 h 741499"/>
                <a:gd name="connsiteX4" fmla="*/ 1376842 w 1376842"/>
                <a:gd name="connsiteY4" fmla="*/ 247853 h 741499"/>
                <a:gd name="connsiteX5" fmla="*/ 1197982 w 1376842"/>
                <a:gd name="connsiteY5" fmla="*/ 305436 h 741499"/>
                <a:gd name="connsiteX6" fmla="*/ 1259681 w 1376842"/>
                <a:gd name="connsiteY6" fmla="*/ 344502 h 741499"/>
                <a:gd name="connsiteX7" fmla="*/ 1011797 w 1376842"/>
                <a:gd name="connsiteY7" fmla="*/ 434994 h 741499"/>
                <a:gd name="connsiteX8" fmla="*/ 1074664 w 1376842"/>
                <a:gd name="connsiteY8" fmla="*/ 496694 h 741499"/>
                <a:gd name="connsiteX9" fmla="*/ 390548 w 1376842"/>
                <a:gd name="connsiteY9" fmla="*/ 741499 h 741499"/>
                <a:gd name="connsiteX10" fmla="*/ 0 w 1376842"/>
                <a:gd name="connsiteY10" fmla="*/ 318998 h 741499"/>
                <a:gd name="connsiteX0" fmla="*/ 0 w 1321792"/>
                <a:gd name="connsiteY0" fmla="*/ 312351 h 741499"/>
                <a:gd name="connsiteX1" fmla="*/ 712502 w 1321792"/>
                <a:gd name="connsiteY1" fmla="*/ 0 h 741499"/>
                <a:gd name="connsiteX2" fmla="*/ 846286 w 1321792"/>
                <a:gd name="connsiteY2" fmla="*/ 133898 h 741499"/>
                <a:gd name="connsiteX3" fmla="*/ 1091133 w 1321792"/>
                <a:gd name="connsiteY3" fmla="*/ 51560 h 741499"/>
                <a:gd name="connsiteX4" fmla="*/ 1321792 w 1321792"/>
                <a:gd name="connsiteY4" fmla="*/ 247853 h 741499"/>
                <a:gd name="connsiteX5" fmla="*/ 1142932 w 1321792"/>
                <a:gd name="connsiteY5" fmla="*/ 305436 h 741499"/>
                <a:gd name="connsiteX6" fmla="*/ 1204631 w 1321792"/>
                <a:gd name="connsiteY6" fmla="*/ 344502 h 741499"/>
                <a:gd name="connsiteX7" fmla="*/ 956747 w 1321792"/>
                <a:gd name="connsiteY7" fmla="*/ 434994 h 741499"/>
                <a:gd name="connsiteX8" fmla="*/ 1019614 w 1321792"/>
                <a:gd name="connsiteY8" fmla="*/ 496694 h 741499"/>
                <a:gd name="connsiteX9" fmla="*/ 335498 w 1321792"/>
                <a:gd name="connsiteY9" fmla="*/ 741499 h 741499"/>
                <a:gd name="connsiteX10" fmla="*/ 0 w 1321792"/>
                <a:gd name="connsiteY10" fmla="*/ 312351 h 741499"/>
                <a:gd name="connsiteX0" fmla="*/ 0 w 1321792"/>
                <a:gd name="connsiteY0" fmla="*/ 424377 h 853525"/>
                <a:gd name="connsiteX1" fmla="*/ 712502 w 1321792"/>
                <a:gd name="connsiteY1" fmla="*/ 112026 h 853525"/>
                <a:gd name="connsiteX2" fmla="*/ 975654 w 1321792"/>
                <a:gd name="connsiteY2" fmla="*/ 0 h 853525"/>
                <a:gd name="connsiteX3" fmla="*/ 1091133 w 1321792"/>
                <a:gd name="connsiteY3" fmla="*/ 163586 h 853525"/>
                <a:gd name="connsiteX4" fmla="*/ 1321792 w 1321792"/>
                <a:gd name="connsiteY4" fmla="*/ 359879 h 853525"/>
                <a:gd name="connsiteX5" fmla="*/ 1142932 w 1321792"/>
                <a:gd name="connsiteY5" fmla="*/ 417462 h 853525"/>
                <a:gd name="connsiteX6" fmla="*/ 1204631 w 1321792"/>
                <a:gd name="connsiteY6" fmla="*/ 456528 h 853525"/>
                <a:gd name="connsiteX7" fmla="*/ 956747 w 1321792"/>
                <a:gd name="connsiteY7" fmla="*/ 547020 h 853525"/>
                <a:gd name="connsiteX8" fmla="*/ 1019614 w 1321792"/>
                <a:gd name="connsiteY8" fmla="*/ 608720 h 853525"/>
                <a:gd name="connsiteX9" fmla="*/ 335498 w 1321792"/>
                <a:gd name="connsiteY9" fmla="*/ 853525 h 853525"/>
                <a:gd name="connsiteX10" fmla="*/ 0 w 1321792"/>
                <a:gd name="connsiteY10" fmla="*/ 424377 h 853525"/>
                <a:gd name="connsiteX0" fmla="*/ 0 w 1377394"/>
                <a:gd name="connsiteY0" fmla="*/ 424377 h 853525"/>
                <a:gd name="connsiteX1" fmla="*/ 712502 w 1377394"/>
                <a:gd name="connsiteY1" fmla="*/ 112026 h 853525"/>
                <a:gd name="connsiteX2" fmla="*/ 975654 w 1377394"/>
                <a:gd name="connsiteY2" fmla="*/ 0 h 853525"/>
                <a:gd name="connsiteX3" fmla="*/ 1377394 w 1377394"/>
                <a:gd name="connsiteY3" fmla="*/ 362984 h 853525"/>
                <a:gd name="connsiteX4" fmla="*/ 1321792 w 1377394"/>
                <a:gd name="connsiteY4" fmla="*/ 359879 h 853525"/>
                <a:gd name="connsiteX5" fmla="*/ 1142932 w 1377394"/>
                <a:gd name="connsiteY5" fmla="*/ 417462 h 853525"/>
                <a:gd name="connsiteX6" fmla="*/ 1204631 w 1377394"/>
                <a:gd name="connsiteY6" fmla="*/ 456528 h 853525"/>
                <a:gd name="connsiteX7" fmla="*/ 956747 w 1377394"/>
                <a:gd name="connsiteY7" fmla="*/ 547020 h 853525"/>
                <a:gd name="connsiteX8" fmla="*/ 1019614 w 1377394"/>
                <a:gd name="connsiteY8" fmla="*/ 608720 h 853525"/>
                <a:gd name="connsiteX9" fmla="*/ 335498 w 1377394"/>
                <a:gd name="connsiteY9" fmla="*/ 853525 h 853525"/>
                <a:gd name="connsiteX10" fmla="*/ 0 w 1377394"/>
                <a:gd name="connsiteY10" fmla="*/ 424377 h 853525"/>
                <a:gd name="connsiteX0" fmla="*/ 0 w 1377394"/>
                <a:gd name="connsiteY0" fmla="*/ 421054 h 850202"/>
                <a:gd name="connsiteX1" fmla="*/ 712502 w 1377394"/>
                <a:gd name="connsiteY1" fmla="*/ 108703 h 850202"/>
                <a:gd name="connsiteX2" fmla="*/ 983911 w 1377394"/>
                <a:gd name="connsiteY2" fmla="*/ 0 h 850202"/>
                <a:gd name="connsiteX3" fmla="*/ 1377394 w 1377394"/>
                <a:gd name="connsiteY3" fmla="*/ 359661 h 850202"/>
                <a:gd name="connsiteX4" fmla="*/ 1321792 w 1377394"/>
                <a:gd name="connsiteY4" fmla="*/ 356556 h 850202"/>
                <a:gd name="connsiteX5" fmla="*/ 1142932 w 1377394"/>
                <a:gd name="connsiteY5" fmla="*/ 414139 h 850202"/>
                <a:gd name="connsiteX6" fmla="*/ 1204631 w 1377394"/>
                <a:gd name="connsiteY6" fmla="*/ 453205 h 850202"/>
                <a:gd name="connsiteX7" fmla="*/ 956747 w 1377394"/>
                <a:gd name="connsiteY7" fmla="*/ 543697 h 850202"/>
                <a:gd name="connsiteX8" fmla="*/ 1019614 w 1377394"/>
                <a:gd name="connsiteY8" fmla="*/ 605397 h 850202"/>
                <a:gd name="connsiteX9" fmla="*/ 335498 w 1377394"/>
                <a:gd name="connsiteY9" fmla="*/ 850202 h 850202"/>
                <a:gd name="connsiteX10" fmla="*/ 0 w 1377394"/>
                <a:gd name="connsiteY10" fmla="*/ 421054 h 850202"/>
                <a:gd name="connsiteX0" fmla="*/ 0 w 1525477"/>
                <a:gd name="connsiteY0" fmla="*/ 421054 h 850202"/>
                <a:gd name="connsiteX1" fmla="*/ 712502 w 1525477"/>
                <a:gd name="connsiteY1" fmla="*/ 108703 h 850202"/>
                <a:gd name="connsiteX2" fmla="*/ 983911 w 1525477"/>
                <a:gd name="connsiteY2" fmla="*/ 0 h 850202"/>
                <a:gd name="connsiteX3" fmla="*/ 1377394 w 1525477"/>
                <a:gd name="connsiteY3" fmla="*/ 359661 h 850202"/>
                <a:gd name="connsiteX4" fmla="*/ 1525477 w 1525477"/>
                <a:gd name="connsiteY4" fmla="*/ 286766 h 850202"/>
                <a:gd name="connsiteX5" fmla="*/ 1142932 w 1525477"/>
                <a:gd name="connsiteY5" fmla="*/ 414139 h 850202"/>
                <a:gd name="connsiteX6" fmla="*/ 1204631 w 1525477"/>
                <a:gd name="connsiteY6" fmla="*/ 453205 h 850202"/>
                <a:gd name="connsiteX7" fmla="*/ 956747 w 1525477"/>
                <a:gd name="connsiteY7" fmla="*/ 543697 h 850202"/>
                <a:gd name="connsiteX8" fmla="*/ 1019614 w 1525477"/>
                <a:gd name="connsiteY8" fmla="*/ 605397 h 850202"/>
                <a:gd name="connsiteX9" fmla="*/ 335498 w 1525477"/>
                <a:gd name="connsiteY9" fmla="*/ 850202 h 850202"/>
                <a:gd name="connsiteX10" fmla="*/ 0 w 1525477"/>
                <a:gd name="connsiteY10" fmla="*/ 421054 h 850202"/>
                <a:gd name="connsiteX0" fmla="*/ 0 w 1776007"/>
                <a:gd name="connsiteY0" fmla="*/ 421054 h 850202"/>
                <a:gd name="connsiteX1" fmla="*/ 712502 w 1776007"/>
                <a:gd name="connsiteY1" fmla="*/ 108703 h 850202"/>
                <a:gd name="connsiteX2" fmla="*/ 983911 w 1776007"/>
                <a:gd name="connsiteY2" fmla="*/ 0 h 850202"/>
                <a:gd name="connsiteX3" fmla="*/ 1377394 w 1776007"/>
                <a:gd name="connsiteY3" fmla="*/ 359661 h 850202"/>
                <a:gd name="connsiteX4" fmla="*/ 1525477 w 1776007"/>
                <a:gd name="connsiteY4" fmla="*/ 286766 h 850202"/>
                <a:gd name="connsiteX5" fmla="*/ 1776007 w 1776007"/>
                <a:gd name="connsiteY5" fmla="*/ 537101 h 850202"/>
                <a:gd name="connsiteX6" fmla="*/ 1204631 w 1776007"/>
                <a:gd name="connsiteY6" fmla="*/ 453205 h 850202"/>
                <a:gd name="connsiteX7" fmla="*/ 956747 w 1776007"/>
                <a:gd name="connsiteY7" fmla="*/ 543697 h 850202"/>
                <a:gd name="connsiteX8" fmla="*/ 1019614 w 1776007"/>
                <a:gd name="connsiteY8" fmla="*/ 605397 h 850202"/>
                <a:gd name="connsiteX9" fmla="*/ 335498 w 1776007"/>
                <a:gd name="connsiteY9" fmla="*/ 850202 h 850202"/>
                <a:gd name="connsiteX10" fmla="*/ 0 w 1776007"/>
                <a:gd name="connsiteY10" fmla="*/ 421054 h 850202"/>
                <a:gd name="connsiteX0" fmla="*/ 0 w 1776007"/>
                <a:gd name="connsiteY0" fmla="*/ 421054 h 850202"/>
                <a:gd name="connsiteX1" fmla="*/ 712502 w 1776007"/>
                <a:gd name="connsiteY1" fmla="*/ 108703 h 850202"/>
                <a:gd name="connsiteX2" fmla="*/ 983911 w 1776007"/>
                <a:gd name="connsiteY2" fmla="*/ 0 h 850202"/>
                <a:gd name="connsiteX3" fmla="*/ 1377394 w 1776007"/>
                <a:gd name="connsiteY3" fmla="*/ 359661 h 850202"/>
                <a:gd name="connsiteX4" fmla="*/ 1525477 w 1776007"/>
                <a:gd name="connsiteY4" fmla="*/ 286766 h 850202"/>
                <a:gd name="connsiteX5" fmla="*/ 1776007 w 1776007"/>
                <a:gd name="connsiteY5" fmla="*/ 537101 h 850202"/>
                <a:gd name="connsiteX6" fmla="*/ 1422078 w 1776007"/>
                <a:gd name="connsiteY6" fmla="*/ 702453 h 850202"/>
                <a:gd name="connsiteX7" fmla="*/ 956747 w 1776007"/>
                <a:gd name="connsiteY7" fmla="*/ 543697 h 850202"/>
                <a:gd name="connsiteX8" fmla="*/ 1019614 w 1776007"/>
                <a:gd name="connsiteY8" fmla="*/ 605397 h 850202"/>
                <a:gd name="connsiteX9" fmla="*/ 335498 w 1776007"/>
                <a:gd name="connsiteY9" fmla="*/ 850202 h 850202"/>
                <a:gd name="connsiteX10" fmla="*/ 0 w 1776007"/>
                <a:gd name="connsiteY10" fmla="*/ 421054 h 850202"/>
                <a:gd name="connsiteX0" fmla="*/ 0 w 1776007"/>
                <a:gd name="connsiteY0" fmla="*/ 421054 h 883435"/>
                <a:gd name="connsiteX1" fmla="*/ 712502 w 1776007"/>
                <a:gd name="connsiteY1" fmla="*/ 108703 h 883435"/>
                <a:gd name="connsiteX2" fmla="*/ 983911 w 1776007"/>
                <a:gd name="connsiteY2" fmla="*/ 0 h 883435"/>
                <a:gd name="connsiteX3" fmla="*/ 1377394 w 1776007"/>
                <a:gd name="connsiteY3" fmla="*/ 359661 h 883435"/>
                <a:gd name="connsiteX4" fmla="*/ 1525477 w 1776007"/>
                <a:gd name="connsiteY4" fmla="*/ 286766 h 883435"/>
                <a:gd name="connsiteX5" fmla="*/ 1776007 w 1776007"/>
                <a:gd name="connsiteY5" fmla="*/ 537101 h 883435"/>
                <a:gd name="connsiteX6" fmla="*/ 1422078 w 1776007"/>
                <a:gd name="connsiteY6" fmla="*/ 702453 h 883435"/>
                <a:gd name="connsiteX7" fmla="*/ 956747 w 1776007"/>
                <a:gd name="connsiteY7" fmla="*/ 543697 h 883435"/>
                <a:gd name="connsiteX8" fmla="*/ 1019614 w 1776007"/>
                <a:gd name="connsiteY8" fmla="*/ 605397 h 883435"/>
                <a:gd name="connsiteX9" fmla="*/ 357518 w 1776007"/>
                <a:gd name="connsiteY9" fmla="*/ 883435 h 883435"/>
                <a:gd name="connsiteX10" fmla="*/ 0 w 1776007"/>
                <a:gd name="connsiteY10" fmla="*/ 421054 h 883435"/>
                <a:gd name="connsiteX0" fmla="*/ 0 w 1776007"/>
                <a:gd name="connsiteY0" fmla="*/ 421054 h 883435"/>
                <a:gd name="connsiteX1" fmla="*/ 712502 w 1776007"/>
                <a:gd name="connsiteY1" fmla="*/ 108703 h 883435"/>
                <a:gd name="connsiteX2" fmla="*/ 983911 w 1776007"/>
                <a:gd name="connsiteY2" fmla="*/ 0 h 883435"/>
                <a:gd name="connsiteX3" fmla="*/ 1377394 w 1776007"/>
                <a:gd name="connsiteY3" fmla="*/ 359661 h 883435"/>
                <a:gd name="connsiteX4" fmla="*/ 1525477 w 1776007"/>
                <a:gd name="connsiteY4" fmla="*/ 286766 h 883435"/>
                <a:gd name="connsiteX5" fmla="*/ 1776007 w 1776007"/>
                <a:gd name="connsiteY5" fmla="*/ 537101 h 883435"/>
                <a:gd name="connsiteX6" fmla="*/ 1422078 w 1776007"/>
                <a:gd name="connsiteY6" fmla="*/ 702453 h 883435"/>
                <a:gd name="connsiteX7" fmla="*/ 956747 w 1776007"/>
                <a:gd name="connsiteY7" fmla="*/ 543697 h 883435"/>
                <a:gd name="connsiteX8" fmla="*/ 438837 w 1776007"/>
                <a:gd name="connsiteY8" fmla="*/ 851322 h 883435"/>
                <a:gd name="connsiteX9" fmla="*/ 357518 w 1776007"/>
                <a:gd name="connsiteY9" fmla="*/ 883435 h 883435"/>
                <a:gd name="connsiteX10" fmla="*/ 0 w 1776007"/>
                <a:gd name="connsiteY10" fmla="*/ 421054 h 883435"/>
                <a:gd name="connsiteX0" fmla="*/ 0 w 1776007"/>
                <a:gd name="connsiteY0" fmla="*/ 421054 h 1035545"/>
                <a:gd name="connsiteX1" fmla="*/ 712502 w 1776007"/>
                <a:gd name="connsiteY1" fmla="*/ 108703 h 1035545"/>
                <a:gd name="connsiteX2" fmla="*/ 983911 w 1776007"/>
                <a:gd name="connsiteY2" fmla="*/ 0 h 1035545"/>
                <a:gd name="connsiteX3" fmla="*/ 1377394 w 1776007"/>
                <a:gd name="connsiteY3" fmla="*/ 359661 h 1035545"/>
                <a:gd name="connsiteX4" fmla="*/ 1525477 w 1776007"/>
                <a:gd name="connsiteY4" fmla="*/ 286766 h 1035545"/>
                <a:gd name="connsiteX5" fmla="*/ 1776007 w 1776007"/>
                <a:gd name="connsiteY5" fmla="*/ 537101 h 1035545"/>
                <a:gd name="connsiteX6" fmla="*/ 1422078 w 1776007"/>
                <a:gd name="connsiteY6" fmla="*/ 702453 h 1035545"/>
                <a:gd name="connsiteX7" fmla="*/ 557636 w 1776007"/>
                <a:gd name="connsiteY7" fmla="*/ 1035545 h 1035545"/>
                <a:gd name="connsiteX8" fmla="*/ 438837 w 1776007"/>
                <a:gd name="connsiteY8" fmla="*/ 851322 h 1035545"/>
                <a:gd name="connsiteX9" fmla="*/ 357518 w 1776007"/>
                <a:gd name="connsiteY9" fmla="*/ 883435 h 1035545"/>
                <a:gd name="connsiteX10" fmla="*/ 0 w 1776007"/>
                <a:gd name="connsiteY10" fmla="*/ 421054 h 1035545"/>
                <a:gd name="connsiteX0" fmla="*/ 0 w 1776007"/>
                <a:gd name="connsiteY0" fmla="*/ 421054 h 1035545"/>
                <a:gd name="connsiteX1" fmla="*/ 712502 w 1776007"/>
                <a:gd name="connsiteY1" fmla="*/ 108703 h 1035545"/>
                <a:gd name="connsiteX2" fmla="*/ 983911 w 1776007"/>
                <a:gd name="connsiteY2" fmla="*/ 0 h 1035545"/>
                <a:gd name="connsiteX3" fmla="*/ 1377394 w 1776007"/>
                <a:gd name="connsiteY3" fmla="*/ 359661 h 1035545"/>
                <a:gd name="connsiteX4" fmla="*/ 1525477 w 1776007"/>
                <a:gd name="connsiteY4" fmla="*/ 286766 h 1035545"/>
                <a:gd name="connsiteX5" fmla="*/ 1776007 w 1776007"/>
                <a:gd name="connsiteY5" fmla="*/ 537101 h 1035545"/>
                <a:gd name="connsiteX6" fmla="*/ 1422078 w 1776007"/>
                <a:gd name="connsiteY6" fmla="*/ 702453 h 1035545"/>
                <a:gd name="connsiteX7" fmla="*/ 557636 w 1776007"/>
                <a:gd name="connsiteY7" fmla="*/ 1035545 h 1035545"/>
                <a:gd name="connsiteX8" fmla="*/ 438837 w 1776007"/>
                <a:gd name="connsiteY8" fmla="*/ 851322 h 1035545"/>
                <a:gd name="connsiteX9" fmla="*/ 357518 w 1776007"/>
                <a:gd name="connsiteY9" fmla="*/ 883435 h 1035545"/>
                <a:gd name="connsiteX10" fmla="*/ 0 w 1776007"/>
                <a:gd name="connsiteY10" fmla="*/ 421054 h 1035545"/>
                <a:gd name="connsiteX0" fmla="*/ 0 w 1776007"/>
                <a:gd name="connsiteY0" fmla="*/ 421054 h 1035545"/>
                <a:gd name="connsiteX1" fmla="*/ 712502 w 1776007"/>
                <a:gd name="connsiteY1" fmla="*/ 108703 h 1035545"/>
                <a:gd name="connsiteX2" fmla="*/ 983911 w 1776007"/>
                <a:gd name="connsiteY2" fmla="*/ 0 h 1035545"/>
                <a:gd name="connsiteX3" fmla="*/ 1377394 w 1776007"/>
                <a:gd name="connsiteY3" fmla="*/ 359661 h 1035545"/>
                <a:gd name="connsiteX4" fmla="*/ 1525477 w 1776007"/>
                <a:gd name="connsiteY4" fmla="*/ 286766 h 1035545"/>
                <a:gd name="connsiteX5" fmla="*/ 1776007 w 1776007"/>
                <a:gd name="connsiteY5" fmla="*/ 537101 h 1035545"/>
                <a:gd name="connsiteX6" fmla="*/ 1422078 w 1776007"/>
                <a:gd name="connsiteY6" fmla="*/ 702453 h 1035545"/>
                <a:gd name="connsiteX7" fmla="*/ 1088353 w 1776007"/>
                <a:gd name="connsiteY7" fmla="*/ 833902 h 1035545"/>
                <a:gd name="connsiteX8" fmla="*/ 557636 w 1776007"/>
                <a:gd name="connsiteY8" fmla="*/ 1035545 h 1035545"/>
                <a:gd name="connsiteX9" fmla="*/ 438837 w 1776007"/>
                <a:gd name="connsiteY9" fmla="*/ 851322 h 1035545"/>
                <a:gd name="connsiteX10" fmla="*/ 357518 w 1776007"/>
                <a:gd name="connsiteY10" fmla="*/ 883435 h 1035545"/>
                <a:gd name="connsiteX11" fmla="*/ 0 w 1776007"/>
                <a:gd name="connsiteY11" fmla="*/ 421054 h 1035545"/>
                <a:gd name="connsiteX0" fmla="*/ 0 w 1776007"/>
                <a:gd name="connsiteY0" fmla="*/ 421054 h 1035545"/>
                <a:gd name="connsiteX1" fmla="*/ 712502 w 1776007"/>
                <a:gd name="connsiteY1" fmla="*/ 108703 h 1035545"/>
                <a:gd name="connsiteX2" fmla="*/ 983911 w 1776007"/>
                <a:gd name="connsiteY2" fmla="*/ 0 h 1035545"/>
                <a:gd name="connsiteX3" fmla="*/ 1377394 w 1776007"/>
                <a:gd name="connsiteY3" fmla="*/ 359661 h 1035545"/>
                <a:gd name="connsiteX4" fmla="*/ 1525477 w 1776007"/>
                <a:gd name="connsiteY4" fmla="*/ 286766 h 1035545"/>
                <a:gd name="connsiteX5" fmla="*/ 1776007 w 1776007"/>
                <a:gd name="connsiteY5" fmla="*/ 537101 h 1035545"/>
                <a:gd name="connsiteX6" fmla="*/ 1422078 w 1776007"/>
                <a:gd name="connsiteY6" fmla="*/ 702453 h 1035545"/>
                <a:gd name="connsiteX7" fmla="*/ 1377365 w 1776007"/>
                <a:gd name="connsiteY7" fmla="*/ 681030 h 1035545"/>
                <a:gd name="connsiteX8" fmla="*/ 557636 w 1776007"/>
                <a:gd name="connsiteY8" fmla="*/ 1035545 h 1035545"/>
                <a:gd name="connsiteX9" fmla="*/ 438837 w 1776007"/>
                <a:gd name="connsiteY9" fmla="*/ 851322 h 1035545"/>
                <a:gd name="connsiteX10" fmla="*/ 357518 w 1776007"/>
                <a:gd name="connsiteY10" fmla="*/ 883435 h 1035545"/>
                <a:gd name="connsiteX11" fmla="*/ 0 w 1776007"/>
                <a:gd name="connsiteY11" fmla="*/ 421054 h 1035545"/>
                <a:gd name="connsiteX0" fmla="*/ 0 w 1776007"/>
                <a:gd name="connsiteY0" fmla="*/ 421054 h 1035545"/>
                <a:gd name="connsiteX1" fmla="*/ 712502 w 1776007"/>
                <a:gd name="connsiteY1" fmla="*/ 108703 h 1035545"/>
                <a:gd name="connsiteX2" fmla="*/ 983911 w 1776007"/>
                <a:gd name="connsiteY2" fmla="*/ 0 h 1035545"/>
                <a:gd name="connsiteX3" fmla="*/ 1377394 w 1776007"/>
                <a:gd name="connsiteY3" fmla="*/ 359661 h 1035545"/>
                <a:gd name="connsiteX4" fmla="*/ 1525477 w 1776007"/>
                <a:gd name="connsiteY4" fmla="*/ 286766 h 1035545"/>
                <a:gd name="connsiteX5" fmla="*/ 1776007 w 1776007"/>
                <a:gd name="connsiteY5" fmla="*/ 537101 h 1035545"/>
                <a:gd name="connsiteX6" fmla="*/ 1413821 w 1776007"/>
                <a:gd name="connsiteY6" fmla="*/ 712423 h 1035545"/>
                <a:gd name="connsiteX7" fmla="*/ 1377365 w 1776007"/>
                <a:gd name="connsiteY7" fmla="*/ 681030 h 1035545"/>
                <a:gd name="connsiteX8" fmla="*/ 557636 w 1776007"/>
                <a:gd name="connsiteY8" fmla="*/ 1035545 h 1035545"/>
                <a:gd name="connsiteX9" fmla="*/ 438837 w 1776007"/>
                <a:gd name="connsiteY9" fmla="*/ 851322 h 1035545"/>
                <a:gd name="connsiteX10" fmla="*/ 357518 w 1776007"/>
                <a:gd name="connsiteY10" fmla="*/ 883435 h 1035545"/>
                <a:gd name="connsiteX11" fmla="*/ 0 w 1776007"/>
                <a:gd name="connsiteY11" fmla="*/ 421054 h 1035545"/>
                <a:gd name="connsiteX0" fmla="*/ 0 w 1776007"/>
                <a:gd name="connsiteY0" fmla="*/ 421054 h 1038869"/>
                <a:gd name="connsiteX1" fmla="*/ 712502 w 1776007"/>
                <a:gd name="connsiteY1" fmla="*/ 108703 h 1038869"/>
                <a:gd name="connsiteX2" fmla="*/ 983911 w 1776007"/>
                <a:gd name="connsiteY2" fmla="*/ 0 h 1038869"/>
                <a:gd name="connsiteX3" fmla="*/ 1377394 w 1776007"/>
                <a:gd name="connsiteY3" fmla="*/ 359661 h 1038869"/>
                <a:gd name="connsiteX4" fmla="*/ 1525477 w 1776007"/>
                <a:gd name="connsiteY4" fmla="*/ 286766 h 1038869"/>
                <a:gd name="connsiteX5" fmla="*/ 1776007 w 1776007"/>
                <a:gd name="connsiteY5" fmla="*/ 537101 h 1038869"/>
                <a:gd name="connsiteX6" fmla="*/ 1413821 w 1776007"/>
                <a:gd name="connsiteY6" fmla="*/ 712423 h 1038869"/>
                <a:gd name="connsiteX7" fmla="*/ 1377365 w 1776007"/>
                <a:gd name="connsiteY7" fmla="*/ 681030 h 1038869"/>
                <a:gd name="connsiteX8" fmla="*/ 568646 w 1776007"/>
                <a:gd name="connsiteY8" fmla="*/ 1038869 h 1038869"/>
                <a:gd name="connsiteX9" fmla="*/ 438837 w 1776007"/>
                <a:gd name="connsiteY9" fmla="*/ 851322 h 1038869"/>
                <a:gd name="connsiteX10" fmla="*/ 357518 w 1776007"/>
                <a:gd name="connsiteY10" fmla="*/ 883435 h 1038869"/>
                <a:gd name="connsiteX11" fmla="*/ 0 w 1776007"/>
                <a:gd name="connsiteY11" fmla="*/ 421054 h 1038869"/>
                <a:gd name="connsiteX0" fmla="*/ 0 w 1776007"/>
                <a:gd name="connsiteY0" fmla="*/ 421054 h 1038869"/>
                <a:gd name="connsiteX1" fmla="*/ 712502 w 1776007"/>
                <a:gd name="connsiteY1" fmla="*/ 108703 h 1038869"/>
                <a:gd name="connsiteX2" fmla="*/ 983911 w 1776007"/>
                <a:gd name="connsiteY2" fmla="*/ 0 h 1038869"/>
                <a:gd name="connsiteX3" fmla="*/ 1377394 w 1776007"/>
                <a:gd name="connsiteY3" fmla="*/ 359661 h 1038869"/>
                <a:gd name="connsiteX4" fmla="*/ 1514467 w 1776007"/>
                <a:gd name="connsiteY4" fmla="*/ 280119 h 1038869"/>
                <a:gd name="connsiteX5" fmla="*/ 1776007 w 1776007"/>
                <a:gd name="connsiteY5" fmla="*/ 537101 h 1038869"/>
                <a:gd name="connsiteX6" fmla="*/ 1413821 w 1776007"/>
                <a:gd name="connsiteY6" fmla="*/ 712423 h 1038869"/>
                <a:gd name="connsiteX7" fmla="*/ 1377365 w 1776007"/>
                <a:gd name="connsiteY7" fmla="*/ 681030 h 1038869"/>
                <a:gd name="connsiteX8" fmla="*/ 568646 w 1776007"/>
                <a:gd name="connsiteY8" fmla="*/ 1038869 h 1038869"/>
                <a:gd name="connsiteX9" fmla="*/ 438837 w 1776007"/>
                <a:gd name="connsiteY9" fmla="*/ 851322 h 1038869"/>
                <a:gd name="connsiteX10" fmla="*/ 357518 w 1776007"/>
                <a:gd name="connsiteY10" fmla="*/ 883435 h 1038869"/>
                <a:gd name="connsiteX11" fmla="*/ 0 w 1776007"/>
                <a:gd name="connsiteY11" fmla="*/ 421054 h 1038869"/>
                <a:gd name="connsiteX0" fmla="*/ 0 w 1776007"/>
                <a:gd name="connsiteY0" fmla="*/ 417730 h 1035545"/>
                <a:gd name="connsiteX1" fmla="*/ 712502 w 1776007"/>
                <a:gd name="connsiteY1" fmla="*/ 105379 h 1035545"/>
                <a:gd name="connsiteX2" fmla="*/ 994921 w 1776007"/>
                <a:gd name="connsiteY2" fmla="*/ 0 h 1035545"/>
                <a:gd name="connsiteX3" fmla="*/ 1377394 w 1776007"/>
                <a:gd name="connsiteY3" fmla="*/ 356337 h 1035545"/>
                <a:gd name="connsiteX4" fmla="*/ 1514467 w 1776007"/>
                <a:gd name="connsiteY4" fmla="*/ 276795 h 1035545"/>
                <a:gd name="connsiteX5" fmla="*/ 1776007 w 1776007"/>
                <a:gd name="connsiteY5" fmla="*/ 533777 h 1035545"/>
                <a:gd name="connsiteX6" fmla="*/ 1413821 w 1776007"/>
                <a:gd name="connsiteY6" fmla="*/ 709099 h 1035545"/>
                <a:gd name="connsiteX7" fmla="*/ 1377365 w 1776007"/>
                <a:gd name="connsiteY7" fmla="*/ 677706 h 1035545"/>
                <a:gd name="connsiteX8" fmla="*/ 568646 w 1776007"/>
                <a:gd name="connsiteY8" fmla="*/ 1035545 h 1035545"/>
                <a:gd name="connsiteX9" fmla="*/ 438837 w 1776007"/>
                <a:gd name="connsiteY9" fmla="*/ 847998 h 1035545"/>
                <a:gd name="connsiteX10" fmla="*/ 357518 w 1776007"/>
                <a:gd name="connsiteY10" fmla="*/ 880111 h 1035545"/>
                <a:gd name="connsiteX11" fmla="*/ 0 w 1776007"/>
                <a:gd name="connsiteY11" fmla="*/ 417730 h 1035545"/>
                <a:gd name="connsiteX0" fmla="*/ 0 w 1776007"/>
                <a:gd name="connsiteY0" fmla="*/ 394467 h 1035545"/>
                <a:gd name="connsiteX1" fmla="*/ 712502 w 1776007"/>
                <a:gd name="connsiteY1" fmla="*/ 105379 h 1035545"/>
                <a:gd name="connsiteX2" fmla="*/ 994921 w 1776007"/>
                <a:gd name="connsiteY2" fmla="*/ 0 h 1035545"/>
                <a:gd name="connsiteX3" fmla="*/ 1377394 w 1776007"/>
                <a:gd name="connsiteY3" fmla="*/ 356337 h 1035545"/>
                <a:gd name="connsiteX4" fmla="*/ 1514467 w 1776007"/>
                <a:gd name="connsiteY4" fmla="*/ 276795 h 1035545"/>
                <a:gd name="connsiteX5" fmla="*/ 1776007 w 1776007"/>
                <a:gd name="connsiteY5" fmla="*/ 533777 h 1035545"/>
                <a:gd name="connsiteX6" fmla="*/ 1413821 w 1776007"/>
                <a:gd name="connsiteY6" fmla="*/ 709099 h 1035545"/>
                <a:gd name="connsiteX7" fmla="*/ 1377365 w 1776007"/>
                <a:gd name="connsiteY7" fmla="*/ 677706 h 1035545"/>
                <a:gd name="connsiteX8" fmla="*/ 568646 w 1776007"/>
                <a:gd name="connsiteY8" fmla="*/ 1035545 h 1035545"/>
                <a:gd name="connsiteX9" fmla="*/ 438837 w 1776007"/>
                <a:gd name="connsiteY9" fmla="*/ 847998 h 1035545"/>
                <a:gd name="connsiteX10" fmla="*/ 357518 w 1776007"/>
                <a:gd name="connsiteY10" fmla="*/ 880111 h 1035545"/>
                <a:gd name="connsiteX11" fmla="*/ 0 w 1776007"/>
                <a:gd name="connsiteY11" fmla="*/ 394467 h 1035545"/>
                <a:gd name="connsiteX0" fmla="*/ 0 w 1773254"/>
                <a:gd name="connsiteY0" fmla="*/ 391144 h 1035545"/>
                <a:gd name="connsiteX1" fmla="*/ 709749 w 1773254"/>
                <a:gd name="connsiteY1" fmla="*/ 105379 h 1035545"/>
                <a:gd name="connsiteX2" fmla="*/ 992168 w 1773254"/>
                <a:gd name="connsiteY2" fmla="*/ 0 h 1035545"/>
                <a:gd name="connsiteX3" fmla="*/ 1374641 w 1773254"/>
                <a:gd name="connsiteY3" fmla="*/ 356337 h 1035545"/>
                <a:gd name="connsiteX4" fmla="*/ 1511714 w 1773254"/>
                <a:gd name="connsiteY4" fmla="*/ 276795 h 1035545"/>
                <a:gd name="connsiteX5" fmla="*/ 1773254 w 1773254"/>
                <a:gd name="connsiteY5" fmla="*/ 533777 h 1035545"/>
                <a:gd name="connsiteX6" fmla="*/ 1411068 w 1773254"/>
                <a:gd name="connsiteY6" fmla="*/ 709099 h 1035545"/>
                <a:gd name="connsiteX7" fmla="*/ 1374612 w 1773254"/>
                <a:gd name="connsiteY7" fmla="*/ 677706 h 1035545"/>
                <a:gd name="connsiteX8" fmla="*/ 565893 w 1773254"/>
                <a:gd name="connsiteY8" fmla="*/ 1035545 h 1035545"/>
                <a:gd name="connsiteX9" fmla="*/ 436084 w 1773254"/>
                <a:gd name="connsiteY9" fmla="*/ 847998 h 1035545"/>
                <a:gd name="connsiteX10" fmla="*/ 354765 w 1773254"/>
                <a:gd name="connsiteY10" fmla="*/ 880111 h 1035545"/>
                <a:gd name="connsiteX11" fmla="*/ 0 w 1773254"/>
                <a:gd name="connsiteY11" fmla="*/ 391144 h 1035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73254" h="1035545">
                  <a:moveTo>
                    <a:pt x="0" y="391144"/>
                  </a:moveTo>
                  <a:lnTo>
                    <a:pt x="709749" y="105379"/>
                  </a:lnTo>
                  <a:lnTo>
                    <a:pt x="992168" y="0"/>
                  </a:lnTo>
                  <a:lnTo>
                    <a:pt x="1374641" y="356337"/>
                  </a:lnTo>
                  <a:lnTo>
                    <a:pt x="1511714" y="276795"/>
                  </a:lnTo>
                  <a:lnTo>
                    <a:pt x="1773254" y="533777"/>
                  </a:lnTo>
                  <a:lnTo>
                    <a:pt x="1411068" y="709099"/>
                  </a:lnTo>
                  <a:lnTo>
                    <a:pt x="1374612" y="677706"/>
                  </a:lnTo>
                  <a:lnTo>
                    <a:pt x="565893" y="1035545"/>
                  </a:lnTo>
                  <a:lnTo>
                    <a:pt x="436084" y="847998"/>
                  </a:lnTo>
                  <a:lnTo>
                    <a:pt x="354765" y="880111"/>
                  </a:lnTo>
                  <a:lnTo>
                    <a:pt x="0" y="391144"/>
                  </a:lnTo>
                  <a:close/>
                </a:path>
              </a:pathLst>
            </a:custGeom>
            <a:solidFill>
              <a:schemeClr val="accent6">
                <a:lumMod val="75000"/>
                <a:alpha val="60000"/>
              </a:schemeClr>
            </a:solidFill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" name="Полилиния 5"/>
            <p:cNvSpPr/>
            <p:nvPr/>
          </p:nvSpPr>
          <p:spPr>
            <a:xfrm>
              <a:off x="4067174" y="1543049"/>
              <a:ext cx="5295900" cy="323850"/>
            </a:xfrm>
            <a:custGeom>
              <a:avLst/>
              <a:gdLst>
                <a:gd name="connsiteX0" fmla="*/ 123825 w 4743450"/>
                <a:gd name="connsiteY0" fmla="*/ 38100 h 257175"/>
                <a:gd name="connsiteX1" fmla="*/ 0 w 4743450"/>
                <a:gd name="connsiteY1" fmla="*/ 200025 h 257175"/>
                <a:gd name="connsiteX2" fmla="*/ 4743450 w 4743450"/>
                <a:gd name="connsiteY2" fmla="*/ 257175 h 257175"/>
                <a:gd name="connsiteX3" fmla="*/ 4362450 w 4743450"/>
                <a:gd name="connsiteY3" fmla="*/ 0 h 257175"/>
                <a:gd name="connsiteX4" fmla="*/ 123825 w 4743450"/>
                <a:gd name="connsiteY4" fmla="*/ 38100 h 257175"/>
                <a:gd name="connsiteX0" fmla="*/ 0 w 5305425"/>
                <a:gd name="connsiteY0" fmla="*/ 0 h 285750"/>
                <a:gd name="connsiteX1" fmla="*/ 561975 w 5305425"/>
                <a:gd name="connsiteY1" fmla="*/ 228600 h 285750"/>
                <a:gd name="connsiteX2" fmla="*/ 5305425 w 5305425"/>
                <a:gd name="connsiteY2" fmla="*/ 285750 h 285750"/>
                <a:gd name="connsiteX3" fmla="*/ 4924425 w 5305425"/>
                <a:gd name="connsiteY3" fmla="*/ 28575 h 285750"/>
                <a:gd name="connsiteX4" fmla="*/ 0 w 5305425"/>
                <a:gd name="connsiteY4" fmla="*/ 0 h 285750"/>
                <a:gd name="connsiteX0" fmla="*/ 0 w 5305425"/>
                <a:gd name="connsiteY0" fmla="*/ 0 h 285750"/>
                <a:gd name="connsiteX1" fmla="*/ 219075 w 5305425"/>
                <a:gd name="connsiteY1" fmla="*/ 276225 h 285750"/>
                <a:gd name="connsiteX2" fmla="*/ 5305425 w 5305425"/>
                <a:gd name="connsiteY2" fmla="*/ 285750 h 285750"/>
                <a:gd name="connsiteX3" fmla="*/ 4924425 w 5305425"/>
                <a:gd name="connsiteY3" fmla="*/ 28575 h 285750"/>
                <a:gd name="connsiteX4" fmla="*/ 0 w 5305425"/>
                <a:gd name="connsiteY4" fmla="*/ 0 h 285750"/>
                <a:gd name="connsiteX0" fmla="*/ 0 w 5362575"/>
                <a:gd name="connsiteY0" fmla="*/ 0 h 323850"/>
                <a:gd name="connsiteX1" fmla="*/ 219075 w 5362575"/>
                <a:gd name="connsiteY1" fmla="*/ 276225 h 323850"/>
                <a:gd name="connsiteX2" fmla="*/ 5362575 w 5362575"/>
                <a:gd name="connsiteY2" fmla="*/ 323850 h 323850"/>
                <a:gd name="connsiteX3" fmla="*/ 4924425 w 5362575"/>
                <a:gd name="connsiteY3" fmla="*/ 28575 h 323850"/>
                <a:gd name="connsiteX4" fmla="*/ 0 w 5362575"/>
                <a:gd name="connsiteY4" fmla="*/ 0 h 323850"/>
                <a:gd name="connsiteX0" fmla="*/ 0 w 5362575"/>
                <a:gd name="connsiteY0" fmla="*/ 0 h 323850"/>
                <a:gd name="connsiteX1" fmla="*/ 219075 w 5362575"/>
                <a:gd name="connsiteY1" fmla="*/ 276225 h 323850"/>
                <a:gd name="connsiteX2" fmla="*/ 5362575 w 5362575"/>
                <a:gd name="connsiteY2" fmla="*/ 323850 h 323850"/>
                <a:gd name="connsiteX3" fmla="*/ 4924425 w 5362575"/>
                <a:gd name="connsiteY3" fmla="*/ 57150 h 323850"/>
                <a:gd name="connsiteX4" fmla="*/ 0 w 5362575"/>
                <a:gd name="connsiteY4" fmla="*/ 0 h 323850"/>
                <a:gd name="connsiteX0" fmla="*/ 0 w 5334000"/>
                <a:gd name="connsiteY0" fmla="*/ 0 h 295275"/>
                <a:gd name="connsiteX1" fmla="*/ 219075 w 5334000"/>
                <a:gd name="connsiteY1" fmla="*/ 276225 h 295275"/>
                <a:gd name="connsiteX2" fmla="*/ 5334000 w 5334000"/>
                <a:gd name="connsiteY2" fmla="*/ 295275 h 295275"/>
                <a:gd name="connsiteX3" fmla="*/ 4924425 w 5334000"/>
                <a:gd name="connsiteY3" fmla="*/ 57150 h 295275"/>
                <a:gd name="connsiteX4" fmla="*/ 0 w 5334000"/>
                <a:gd name="connsiteY4" fmla="*/ 0 h 295275"/>
                <a:gd name="connsiteX0" fmla="*/ 0 w 5343525"/>
                <a:gd name="connsiteY0" fmla="*/ 0 h 333375"/>
                <a:gd name="connsiteX1" fmla="*/ 219075 w 5343525"/>
                <a:gd name="connsiteY1" fmla="*/ 276225 h 333375"/>
                <a:gd name="connsiteX2" fmla="*/ 5343525 w 5343525"/>
                <a:gd name="connsiteY2" fmla="*/ 333375 h 333375"/>
                <a:gd name="connsiteX3" fmla="*/ 4924425 w 5343525"/>
                <a:gd name="connsiteY3" fmla="*/ 57150 h 333375"/>
                <a:gd name="connsiteX4" fmla="*/ 0 w 5343525"/>
                <a:gd name="connsiteY4" fmla="*/ 0 h 333375"/>
                <a:gd name="connsiteX0" fmla="*/ 0 w 5295900"/>
                <a:gd name="connsiteY0" fmla="*/ 0 h 323850"/>
                <a:gd name="connsiteX1" fmla="*/ 219075 w 5295900"/>
                <a:gd name="connsiteY1" fmla="*/ 276225 h 323850"/>
                <a:gd name="connsiteX2" fmla="*/ 5295900 w 5295900"/>
                <a:gd name="connsiteY2" fmla="*/ 323850 h 323850"/>
                <a:gd name="connsiteX3" fmla="*/ 4924425 w 5295900"/>
                <a:gd name="connsiteY3" fmla="*/ 57150 h 323850"/>
                <a:gd name="connsiteX4" fmla="*/ 0 w 5295900"/>
                <a:gd name="connsiteY4" fmla="*/ 0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95900" h="323850">
                  <a:moveTo>
                    <a:pt x="0" y="0"/>
                  </a:moveTo>
                  <a:lnTo>
                    <a:pt x="219075" y="276225"/>
                  </a:lnTo>
                  <a:lnTo>
                    <a:pt x="5295900" y="323850"/>
                  </a:lnTo>
                  <a:lnTo>
                    <a:pt x="4924425" y="571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030A0">
                <a:alpha val="40000"/>
              </a:srgbClr>
            </a:solidFill>
            <a:ln w="1270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9" name="Прямоугольник 8"/>
          <p:cNvSpPr/>
          <p:nvPr/>
        </p:nvSpPr>
        <p:spPr>
          <a:xfrm>
            <a:off x="853181" y="1086379"/>
            <a:ext cx="2016224" cy="1525091"/>
          </a:xfrm>
          <a:prstGeom prst="rect">
            <a:avLst/>
          </a:prstGeom>
          <a:solidFill>
            <a:schemeClr val="bg1"/>
          </a:solidFill>
          <a:ln w="12700">
            <a:solidFill>
              <a:srgbClr val="B9B8B9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Aft>
                <a:spcPts val="300"/>
              </a:spcAft>
            </a:pPr>
            <a:endParaRPr lang="ru-RU" sz="1200" b="1">
              <a:solidFill>
                <a:srgbClr val="962921"/>
              </a:solidFill>
              <a:latin typeface="PT Sans Narrow" panose="020B0506020203020204" pitchFamily="34" charset="-52"/>
              <a:cs typeface="Arial" pitchFamily="34" charset="0"/>
            </a:endParaRPr>
          </a:p>
        </p:txBody>
      </p:sp>
      <p:sp>
        <p:nvSpPr>
          <p:cNvPr id="140" name="Rectangular Callout 4"/>
          <p:cNvSpPr/>
          <p:nvPr/>
        </p:nvSpPr>
        <p:spPr>
          <a:xfrm>
            <a:off x="7851749" y="5974872"/>
            <a:ext cx="2857352" cy="978225"/>
          </a:xfrm>
          <a:prstGeom prst="wedgeRectCallout">
            <a:avLst>
              <a:gd name="adj1" fmla="val -102927"/>
              <a:gd name="adj2" fmla="val -71263"/>
            </a:avLst>
          </a:prstGeom>
          <a:solidFill>
            <a:schemeClr val="bg1"/>
          </a:solidFill>
          <a:ln w="12700">
            <a:solidFill>
              <a:srgbClr val="B9B8B9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en-US" sz="1200" b="1" dirty="0">
                <a:solidFill>
                  <a:srgbClr val="962921"/>
                </a:solidFill>
                <a:latin typeface="PT Sans Narrow" panose="020B0506020203020204" pitchFamily="34" charset="-52"/>
                <a:cs typeface="Arial" pitchFamily="34" charset="0"/>
              </a:rPr>
              <a:t>TRANSPORT INFRASTRUCTURE</a:t>
            </a:r>
            <a:endParaRPr lang="ru-RU" sz="1200" b="1" dirty="0">
              <a:solidFill>
                <a:srgbClr val="962921"/>
              </a:solidFill>
              <a:latin typeface="PT Sans Narrow" panose="020B0506020203020204" pitchFamily="34" charset="-52"/>
              <a:cs typeface="Arial" pitchFamily="34" charset="0"/>
            </a:endParaRPr>
          </a:p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  <a:cs typeface="Arial" pitchFamily="34" charset="0"/>
              </a:rPr>
              <a:t>Multimodal logistic terminal: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  <a:cs typeface="Arial" pitchFamily="34" charset="0"/>
              </a:rPr>
              <a:t> </a:t>
            </a:r>
          </a:p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  <a:cs typeface="Arial" pitchFamily="34" charset="0"/>
              </a:rPr>
              <a:t>auto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  <a:cs typeface="Arial" pitchFamily="34" charset="0"/>
              </a:rPr>
              <a:t>,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  <a:cs typeface="Arial" pitchFamily="34" charset="0"/>
              </a:rPr>
              <a:t>air and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  <a:cs typeface="Arial" pitchFamily="34" charset="0"/>
              </a:rPr>
              <a:t>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  <a:cs typeface="Arial" pitchFamily="34" charset="0"/>
              </a:rPr>
              <a:t>rail transportation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PT Sans Narrow" panose="020B0506020203020204" pitchFamily="34" charset="-52"/>
              <a:cs typeface="Arial" pitchFamily="34" charset="0"/>
            </a:endParaRPr>
          </a:p>
        </p:txBody>
      </p:sp>
      <p:sp>
        <p:nvSpPr>
          <p:cNvPr id="141" name="Rectangular Callout 11"/>
          <p:cNvSpPr/>
          <p:nvPr/>
        </p:nvSpPr>
        <p:spPr>
          <a:xfrm>
            <a:off x="7840265" y="2152691"/>
            <a:ext cx="2868836" cy="858437"/>
          </a:xfrm>
          <a:prstGeom prst="wedgeRectCallout">
            <a:avLst>
              <a:gd name="adj1" fmla="val -120419"/>
              <a:gd name="adj2" fmla="val 70195"/>
            </a:avLst>
          </a:prstGeom>
          <a:solidFill>
            <a:schemeClr val="bg1"/>
          </a:solidFill>
          <a:ln w="12700">
            <a:solidFill>
              <a:srgbClr val="B9B8B9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Aft>
                <a:spcPts val="300"/>
              </a:spcAft>
              <a:defRPr/>
            </a:pPr>
            <a:r>
              <a:rPr lang="en-US" sz="1200" b="1" dirty="0">
                <a:solidFill>
                  <a:srgbClr val="962921"/>
                </a:solidFill>
                <a:latin typeface="PT Sans Narrow" panose="020B0506020203020204" pitchFamily="34" charset="-52"/>
                <a:cs typeface="Arial" pitchFamily="34" charset="0"/>
              </a:rPr>
              <a:t>INDUSTRIAL–LOGISTIC INFRASTRUCTURE</a:t>
            </a:r>
          </a:p>
          <a:p>
            <a:pPr algn="ctr">
              <a:spcAft>
                <a:spcPts val="300"/>
              </a:spcAft>
              <a:defRPr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  <a:cs typeface="Arial" pitchFamily="34" charset="0"/>
              </a:rPr>
              <a:t>Cross-docking warehouse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PT Sans Narrow" panose="020B0506020203020204" pitchFamily="34" charset="-52"/>
              <a:cs typeface="Arial" pitchFamily="34" charset="0"/>
            </a:endParaRPr>
          </a:p>
        </p:txBody>
      </p:sp>
      <p:sp>
        <p:nvSpPr>
          <p:cNvPr id="142" name="Rectangular Callout 12"/>
          <p:cNvSpPr/>
          <p:nvPr/>
        </p:nvSpPr>
        <p:spPr>
          <a:xfrm>
            <a:off x="7851749" y="4291292"/>
            <a:ext cx="2857352" cy="1186153"/>
          </a:xfrm>
          <a:prstGeom prst="wedgeRectCallout">
            <a:avLst>
              <a:gd name="adj1" fmla="val -135505"/>
              <a:gd name="adj2" fmla="val -32254"/>
            </a:avLst>
          </a:prstGeom>
          <a:solidFill>
            <a:schemeClr val="bg1"/>
          </a:solidFill>
          <a:ln w="12700">
            <a:solidFill>
              <a:srgbClr val="B9B8B9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Aft>
                <a:spcPts val="300"/>
              </a:spcAft>
            </a:pPr>
            <a:r>
              <a:rPr lang="en-US" sz="1200" b="1" dirty="0">
                <a:solidFill>
                  <a:srgbClr val="962921"/>
                </a:solidFill>
                <a:latin typeface="PT Sans Narrow" panose="020B0506020203020204" pitchFamily="34" charset="-52"/>
                <a:cs typeface="Arial" pitchFamily="34" charset="0"/>
              </a:rPr>
              <a:t>INFRASTRUCTURE OF ADDED VALUE</a:t>
            </a:r>
            <a:endParaRPr lang="ru-RU" sz="1200" b="1" dirty="0">
              <a:solidFill>
                <a:srgbClr val="962921"/>
              </a:solidFill>
              <a:latin typeface="PT Sans Narrow" panose="020B0506020203020204" pitchFamily="34" charset="-52"/>
              <a:cs typeface="Arial" pitchFamily="34" charset="0"/>
            </a:endParaRPr>
          </a:p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  <a:cs typeface="Arial" pitchFamily="34" charset="0"/>
              </a:rPr>
              <a:t>Rail container terminal, customs terminal and bonded warehouses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  <a:cs typeface="Arial" pitchFamily="34" charset="0"/>
              </a:rPr>
              <a:t>, </a:t>
            </a:r>
            <a:r>
              <a:rPr lang="en-US" alt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  <a:cs typeface="Arial" pitchFamily="34" charset="0"/>
              </a:rPr>
              <a:t>repair</a:t>
            </a:r>
            <a:r>
              <a:rPr lang="ru-RU" alt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  <a:cs typeface="Arial" pitchFamily="34" charset="0"/>
              </a:rPr>
              <a:t> </a:t>
            </a:r>
            <a:r>
              <a:rPr lang="en-US" alt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  <a:cs typeface="Arial" pitchFamily="34" charset="0"/>
              </a:rPr>
              <a:t>and maintenance container services, truck stops,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  <a:cs typeface="Arial" pitchFamily="34" charset="0"/>
              </a:rPr>
              <a:t>transport companies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PT Sans Narrow" panose="020B0506020203020204" pitchFamily="34" charset="-52"/>
              <a:cs typeface="Arial" pitchFamily="34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EIGHT VILLAGE VORSINO CONCEPT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725C68B6-61C2-468F-89AB-4B9F7531AA68}" type="slidenum">
              <a:rPr lang="ru-RU" smtClean="0"/>
              <a:pPr/>
              <a:t>3</a:t>
            </a:fld>
            <a:endParaRPr lang="ru-RU"/>
          </a:p>
        </p:txBody>
      </p:sp>
      <p:sp>
        <p:nvSpPr>
          <p:cNvPr id="143" name="Rectangular Callout 13"/>
          <p:cNvSpPr/>
          <p:nvPr/>
        </p:nvSpPr>
        <p:spPr>
          <a:xfrm>
            <a:off x="346919" y="4729344"/>
            <a:ext cx="1178745" cy="1011242"/>
          </a:xfrm>
          <a:prstGeom prst="wedgeRectCallout">
            <a:avLst>
              <a:gd name="adj1" fmla="val 169913"/>
              <a:gd name="adj2" fmla="val -237059"/>
            </a:avLst>
          </a:prstGeom>
          <a:solidFill>
            <a:schemeClr val="bg1"/>
          </a:solidFill>
          <a:ln w="12700">
            <a:solidFill>
              <a:srgbClr val="B9B8B9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Aft>
                <a:spcPts val="300"/>
              </a:spcAft>
              <a:defRPr/>
            </a:pP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PT Sans Narrow" panose="020B0506020203020204" pitchFamily="34" charset="-52"/>
              <a:cs typeface="Arial" pitchFamily="34" charset="0"/>
            </a:endParaRPr>
          </a:p>
        </p:txBody>
      </p:sp>
      <p:sp>
        <p:nvSpPr>
          <p:cNvPr id="14" name="Rectangular Callout 11"/>
          <p:cNvSpPr/>
          <p:nvPr/>
        </p:nvSpPr>
        <p:spPr>
          <a:xfrm>
            <a:off x="342305" y="5939526"/>
            <a:ext cx="2533053" cy="858437"/>
          </a:xfrm>
          <a:prstGeom prst="wedgeRectCallout">
            <a:avLst>
              <a:gd name="adj1" fmla="val 103189"/>
              <a:gd name="adj2" fmla="val -80706"/>
            </a:avLst>
          </a:prstGeom>
          <a:solidFill>
            <a:schemeClr val="bg1"/>
          </a:solidFill>
          <a:ln w="12700">
            <a:solidFill>
              <a:srgbClr val="B9B8B9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Aft>
                <a:spcPts val="300"/>
              </a:spcAft>
              <a:defRPr/>
            </a:pPr>
            <a:r>
              <a:rPr lang="en-US" sz="1200" b="1" dirty="0">
                <a:solidFill>
                  <a:srgbClr val="962921"/>
                </a:solidFill>
                <a:latin typeface="PT Sans Narrow" panose="020B0506020203020204" pitchFamily="34" charset="-52"/>
                <a:cs typeface="Arial" pitchFamily="34" charset="0"/>
              </a:rPr>
              <a:t>INDUSTRIAL–LOGISTIC INFRASTRUCTURE</a:t>
            </a:r>
          </a:p>
          <a:p>
            <a:pPr algn="ctr">
              <a:spcAft>
                <a:spcPts val="300"/>
              </a:spcAft>
              <a:defRPr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  <a:cs typeface="Arial" pitchFamily="34" charset="0"/>
              </a:rPr>
              <a:t>Industrial zone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PT Sans Narrow" panose="020B0506020203020204" pitchFamily="34" charset="-52"/>
              <a:cs typeface="Arial" pitchFamily="34" charset="0"/>
            </a:endParaRPr>
          </a:p>
        </p:txBody>
      </p:sp>
      <p:sp>
        <p:nvSpPr>
          <p:cNvPr id="15" name="Rectangular Callout 13"/>
          <p:cNvSpPr/>
          <p:nvPr/>
        </p:nvSpPr>
        <p:spPr>
          <a:xfrm>
            <a:off x="342305" y="4729344"/>
            <a:ext cx="2016224" cy="1020364"/>
          </a:xfrm>
          <a:prstGeom prst="wedgeRectCallout">
            <a:avLst>
              <a:gd name="adj1" fmla="val 123843"/>
              <a:gd name="adj2" fmla="val -8226"/>
            </a:avLst>
          </a:prstGeom>
          <a:solidFill>
            <a:schemeClr val="bg1"/>
          </a:solidFill>
          <a:ln w="12700">
            <a:solidFill>
              <a:srgbClr val="B9B8B9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Aft>
                <a:spcPts val="300"/>
              </a:spcAft>
              <a:defRPr/>
            </a:pPr>
            <a:r>
              <a:rPr lang="en-US" sz="1200" b="1" dirty="0">
                <a:solidFill>
                  <a:srgbClr val="962921"/>
                </a:solidFill>
                <a:latin typeface="PT Sans Narrow" panose="020B0506020203020204" pitchFamily="34" charset="-52"/>
                <a:cs typeface="Arial" pitchFamily="34" charset="0"/>
              </a:rPr>
              <a:t>SERVICE INFRASTRUCTURE</a:t>
            </a:r>
            <a:endParaRPr lang="ru-RU" sz="1200" b="1" dirty="0">
              <a:solidFill>
                <a:srgbClr val="962921"/>
              </a:solidFill>
              <a:latin typeface="PT Sans Narrow" panose="020B0506020203020204" pitchFamily="34" charset="-52"/>
              <a:cs typeface="Arial" pitchFamily="34" charset="0"/>
            </a:endParaRPr>
          </a:p>
          <a:p>
            <a:pPr lvl="0" algn="ctr">
              <a:defRPr/>
            </a:pPr>
            <a:r>
              <a:rPr lang="en-US" alt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  <a:cs typeface="Arial" pitchFamily="34" charset="0"/>
              </a:rPr>
              <a:t>Offices of property management and facility management companies, retail zone, hostels</a:t>
            </a:r>
            <a:endParaRPr lang="ru-RU" altLang="ru-RU" sz="1200" dirty="0">
              <a:solidFill>
                <a:schemeClr val="tx1">
                  <a:lumMod val="75000"/>
                  <a:lumOff val="25000"/>
                </a:schemeClr>
              </a:solidFill>
              <a:latin typeface="PT Sans Narrow" panose="020B0506020203020204" pitchFamily="34" charset="-52"/>
              <a:cs typeface="Arial" pitchFamily="34" charset="0"/>
            </a:endParaRPr>
          </a:p>
        </p:txBody>
      </p:sp>
      <p:grpSp>
        <p:nvGrpSpPr>
          <p:cNvPr id="19" name="Группа 18"/>
          <p:cNvGrpSpPr/>
          <p:nvPr/>
        </p:nvGrpSpPr>
        <p:grpSpPr>
          <a:xfrm>
            <a:off x="637157" y="1303069"/>
            <a:ext cx="2030906" cy="1103990"/>
            <a:chOff x="3423967" y="5507752"/>
            <a:chExt cx="2030906" cy="1103990"/>
          </a:xfrm>
        </p:grpSpPr>
        <p:sp>
          <p:nvSpPr>
            <p:cNvPr id="20" name="Прямоугольник 19"/>
            <p:cNvSpPr/>
            <p:nvPr/>
          </p:nvSpPr>
          <p:spPr>
            <a:xfrm>
              <a:off x="4806801" y="5507752"/>
              <a:ext cx="648072" cy="294476"/>
            </a:xfrm>
            <a:prstGeom prst="rect">
              <a:avLst/>
            </a:prstGeom>
            <a:solidFill>
              <a:srgbClr val="FF0000">
                <a:alpha val="40000"/>
              </a:srgbClr>
            </a:solidFill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4806801" y="5912509"/>
              <a:ext cx="648072" cy="294476"/>
            </a:xfrm>
            <a:prstGeom prst="rect">
              <a:avLst/>
            </a:prstGeom>
            <a:solidFill>
              <a:schemeClr val="accent6">
                <a:lumMod val="75000"/>
                <a:alpha val="60000"/>
              </a:schemeClr>
            </a:solidFill>
            <a:ln w="9525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4806801" y="6317266"/>
              <a:ext cx="648072" cy="294476"/>
            </a:xfrm>
            <a:prstGeom prst="rect">
              <a:avLst/>
            </a:prstGeom>
            <a:solidFill>
              <a:srgbClr val="7030A0">
                <a:alpha val="40000"/>
              </a:srgbClr>
            </a:solidFill>
            <a:ln w="9525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3" name="Текст 2"/>
            <p:cNvSpPr txBox="1">
              <a:spLocks/>
            </p:cNvSpPr>
            <p:nvPr/>
          </p:nvSpPr>
          <p:spPr>
            <a:xfrm>
              <a:off x="3423967" y="5544988"/>
              <a:ext cx="1382833" cy="1000272"/>
            </a:xfrm>
            <a:prstGeom prst="rect">
              <a:avLst/>
            </a:prstGeom>
          </p:spPr>
          <p:txBody>
            <a:bodyPr/>
            <a:lstStyle>
              <a:lvl1pPr marL="406611" indent="-406611" algn="l" defTabSz="1084296" rtl="0" eaLnBrk="1" latinLnBrk="0" hangingPunct="1">
                <a:spcBef>
                  <a:spcPct val="20000"/>
                </a:spcBef>
                <a:buClr>
                  <a:srgbClr val="0070C0"/>
                </a:buClr>
                <a:buFont typeface="Arial" panose="020B0604020202020204" pitchFamily="34" charset="0"/>
                <a:buChar char="⁄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880990" indent="-338842" algn="l" defTabSz="1084296" rtl="0" eaLnBrk="1" latinLnBrk="0" hangingPunct="1">
                <a:spcBef>
                  <a:spcPct val="20000"/>
                </a:spcBef>
                <a:buClr>
                  <a:srgbClr val="0070C0"/>
                </a:buClr>
                <a:buFont typeface="Arial" panose="020B0604020202020204" pitchFamily="34" charset="0"/>
                <a:buChar char="⁄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1355369" indent="-271074" algn="l" defTabSz="1084296" rtl="0" eaLnBrk="1" latinLnBrk="0" hangingPunct="1">
                <a:spcBef>
                  <a:spcPct val="20000"/>
                </a:spcBef>
                <a:buClr>
                  <a:srgbClr val="0070C0"/>
                </a:buClr>
                <a:buFont typeface="Arial" panose="020B0604020202020204" pitchFamily="34" charset="0"/>
                <a:buChar char="⁄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1897517" indent="-271074" algn="l" defTabSz="1084296" rtl="0" eaLnBrk="1" latinLnBrk="0" hangingPunct="1">
                <a:spcBef>
                  <a:spcPct val="20000"/>
                </a:spcBef>
                <a:buClr>
                  <a:srgbClr val="0070C0"/>
                </a:buClr>
                <a:buFont typeface="Arial" panose="020B0604020202020204" pitchFamily="34" charset="0"/>
                <a:buChar char="⁄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2439665" indent="-271074" algn="l" defTabSz="1084296" rtl="0" eaLnBrk="1" latinLnBrk="0" hangingPunct="1">
                <a:spcBef>
                  <a:spcPct val="20000"/>
                </a:spcBef>
                <a:buClr>
                  <a:srgbClr val="0070C0"/>
                </a:buClr>
                <a:buFont typeface="Arial" panose="020B0604020202020204" pitchFamily="34" charset="0"/>
                <a:buChar char="⁄"/>
                <a:defRPr sz="12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2981813" indent="-271074" algn="l" defTabSz="108429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523960" indent="-271074" algn="l" defTabSz="108429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66108" indent="-271074" algn="l" defTabSz="108429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08256" indent="-271074" algn="l" defTabSz="108429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67769" indent="0" algn="r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-US" b="1" dirty="0">
                  <a:latin typeface="PT Sans Narrow" panose="020B0506020203020204" pitchFamily="34" charset="-52"/>
                </a:rPr>
                <a:t>Rail terminal</a:t>
              </a:r>
              <a:endParaRPr lang="ru-RU" b="1" dirty="0">
                <a:latin typeface="PT Sans Narrow" panose="020B0506020203020204" pitchFamily="34" charset="-52"/>
              </a:endParaRPr>
            </a:p>
            <a:p>
              <a:pPr marL="67769" indent="0" algn="r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-US" b="1" dirty="0">
                  <a:latin typeface="PT Sans Narrow" panose="020B0506020203020204" pitchFamily="34" charset="-52"/>
                </a:rPr>
                <a:t>Customs terminal</a:t>
              </a:r>
              <a:endParaRPr lang="ru-RU" b="1" dirty="0">
                <a:latin typeface="PT Sans Narrow" panose="020B0506020203020204" pitchFamily="34" charset="-52"/>
              </a:endParaRPr>
            </a:p>
            <a:p>
              <a:pPr marL="67769" indent="0" algn="r">
                <a:spcBef>
                  <a:spcPts val="0"/>
                </a:spcBef>
                <a:spcAft>
                  <a:spcPts val="1600"/>
                </a:spcAft>
                <a:buNone/>
              </a:pPr>
              <a:r>
                <a:rPr lang="en-US" b="1" dirty="0">
                  <a:latin typeface="PT Sans Narrow" panose="020B0506020203020204" pitchFamily="34" charset="-52"/>
                </a:rPr>
                <a:t>Airport </a:t>
              </a:r>
              <a:endParaRPr lang="ru-RU" b="1" dirty="0">
                <a:latin typeface="PT Sans Narrow" panose="020B0506020203020204" pitchFamily="34" charset="-5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4900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9" t="10940" r="478" b="5275"/>
          <a:stretch/>
        </p:blipFill>
        <p:spPr>
          <a:xfrm>
            <a:off x="-28276" y="372"/>
            <a:ext cx="11082039" cy="7921253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ОВЫЙ ШЕЛКОВЫЙ ПУТЬ ДЛЯ ЕВРАЗИИ</a:t>
            </a:r>
          </a:p>
        </p:txBody>
      </p:sp>
      <p:sp>
        <p:nvSpPr>
          <p:cNvPr id="33" name="Полилиния 32"/>
          <p:cNvSpPr/>
          <p:nvPr/>
        </p:nvSpPr>
        <p:spPr>
          <a:xfrm>
            <a:off x="659" y="331336"/>
            <a:ext cx="695325" cy="2776047"/>
          </a:xfrm>
          <a:custGeom>
            <a:avLst/>
            <a:gdLst>
              <a:gd name="connsiteX0" fmla="*/ 0 w 657225"/>
              <a:gd name="connsiteY0" fmla="*/ 0 h 2162175"/>
              <a:gd name="connsiteX1" fmla="*/ 657225 w 657225"/>
              <a:gd name="connsiteY1" fmla="*/ 9525 h 2162175"/>
              <a:gd name="connsiteX2" fmla="*/ 19050 w 657225"/>
              <a:gd name="connsiteY2" fmla="*/ 2162175 h 2162175"/>
              <a:gd name="connsiteX3" fmla="*/ 0 w 657225"/>
              <a:gd name="connsiteY3" fmla="*/ 0 h 2162175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52992"/>
              <a:gd name="connsiteX1" fmla="*/ 657225 w 657225"/>
              <a:gd name="connsiteY1" fmla="*/ 9525 h 2152992"/>
              <a:gd name="connsiteX2" fmla="*/ 0 w 657225"/>
              <a:gd name="connsiteY2" fmla="*/ 2152992 h 2152992"/>
              <a:gd name="connsiteX3" fmla="*/ 0 w 657225"/>
              <a:gd name="connsiteY3" fmla="*/ 0 h 2152992"/>
              <a:gd name="connsiteX0" fmla="*/ 0 w 657225"/>
              <a:gd name="connsiteY0" fmla="*/ 17738 h 2170730"/>
              <a:gd name="connsiteX1" fmla="*/ 657225 w 657225"/>
              <a:gd name="connsiteY1" fmla="*/ 0 h 2170730"/>
              <a:gd name="connsiteX2" fmla="*/ 0 w 657225"/>
              <a:gd name="connsiteY2" fmla="*/ 2170730 h 2170730"/>
              <a:gd name="connsiteX3" fmla="*/ 0 w 657225"/>
              <a:gd name="connsiteY3" fmla="*/ 17738 h 2170730"/>
              <a:gd name="connsiteX0" fmla="*/ 0 w 657225"/>
              <a:gd name="connsiteY0" fmla="*/ 0 h 2171168"/>
              <a:gd name="connsiteX1" fmla="*/ 657225 w 657225"/>
              <a:gd name="connsiteY1" fmla="*/ 438 h 2171168"/>
              <a:gd name="connsiteX2" fmla="*/ 0 w 657225"/>
              <a:gd name="connsiteY2" fmla="*/ 2171168 h 2171168"/>
              <a:gd name="connsiteX3" fmla="*/ 0 w 657225"/>
              <a:gd name="connsiteY3" fmla="*/ 0 h 2171168"/>
              <a:gd name="connsiteX0" fmla="*/ 0 w 695325"/>
              <a:gd name="connsiteY0" fmla="*/ 0 h 2171168"/>
              <a:gd name="connsiteX1" fmla="*/ 695325 w 695325"/>
              <a:gd name="connsiteY1" fmla="*/ 438 h 2171168"/>
              <a:gd name="connsiteX2" fmla="*/ 0 w 695325"/>
              <a:gd name="connsiteY2" fmla="*/ 2171168 h 2171168"/>
              <a:gd name="connsiteX3" fmla="*/ 0 w 695325"/>
              <a:gd name="connsiteY3" fmla="*/ 0 h 2171168"/>
              <a:gd name="connsiteX0" fmla="*/ 9525 w 704850"/>
              <a:gd name="connsiteY0" fmla="*/ 0 h 2676201"/>
              <a:gd name="connsiteX1" fmla="*/ 704850 w 704850"/>
              <a:gd name="connsiteY1" fmla="*/ 438 h 2676201"/>
              <a:gd name="connsiteX2" fmla="*/ 0 w 704850"/>
              <a:gd name="connsiteY2" fmla="*/ 2676201 h 2676201"/>
              <a:gd name="connsiteX3" fmla="*/ 9525 w 704850"/>
              <a:gd name="connsiteY3" fmla="*/ 0 h 2676201"/>
              <a:gd name="connsiteX0" fmla="*/ 0 w 695325"/>
              <a:gd name="connsiteY0" fmla="*/ 0 h 2667019"/>
              <a:gd name="connsiteX1" fmla="*/ 695325 w 695325"/>
              <a:gd name="connsiteY1" fmla="*/ 438 h 2667019"/>
              <a:gd name="connsiteX2" fmla="*/ 9525 w 695325"/>
              <a:gd name="connsiteY2" fmla="*/ 2667019 h 2667019"/>
              <a:gd name="connsiteX3" fmla="*/ 0 w 695325"/>
              <a:gd name="connsiteY3" fmla="*/ 0 h 2667019"/>
              <a:gd name="connsiteX0" fmla="*/ 0 w 695325"/>
              <a:gd name="connsiteY0" fmla="*/ 0 h 2667019"/>
              <a:gd name="connsiteX1" fmla="*/ 695325 w 695325"/>
              <a:gd name="connsiteY1" fmla="*/ 438 h 2667019"/>
              <a:gd name="connsiteX2" fmla="*/ 9525 w 695325"/>
              <a:gd name="connsiteY2" fmla="*/ 2667019 h 2667019"/>
              <a:gd name="connsiteX3" fmla="*/ 0 w 695325"/>
              <a:gd name="connsiteY3" fmla="*/ 0 h 2667019"/>
              <a:gd name="connsiteX0" fmla="*/ 0 w 695325"/>
              <a:gd name="connsiteY0" fmla="*/ 0 h 2676201"/>
              <a:gd name="connsiteX1" fmla="*/ 695325 w 695325"/>
              <a:gd name="connsiteY1" fmla="*/ 438 h 2676201"/>
              <a:gd name="connsiteX2" fmla="*/ 0 w 695325"/>
              <a:gd name="connsiteY2" fmla="*/ 2676201 h 2676201"/>
              <a:gd name="connsiteX3" fmla="*/ 0 w 695325"/>
              <a:gd name="connsiteY3" fmla="*/ 0 h 2676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325" h="2676201">
                <a:moveTo>
                  <a:pt x="0" y="0"/>
                </a:moveTo>
                <a:lnTo>
                  <a:pt x="695325" y="438"/>
                </a:lnTo>
                <a:lnTo>
                  <a:pt x="0" y="2676201"/>
                </a:lnTo>
                <a:lnTo>
                  <a:pt x="0" y="0"/>
                </a:lnTo>
                <a:close/>
              </a:path>
            </a:pathLst>
          </a:custGeom>
          <a:solidFill>
            <a:srgbClr val="9829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6" name="Полилиния 35"/>
          <p:cNvSpPr/>
          <p:nvPr/>
        </p:nvSpPr>
        <p:spPr>
          <a:xfrm>
            <a:off x="0" y="0"/>
            <a:ext cx="428625" cy="1743075"/>
          </a:xfrm>
          <a:custGeom>
            <a:avLst/>
            <a:gdLst>
              <a:gd name="connsiteX0" fmla="*/ 0 w 447675"/>
              <a:gd name="connsiteY0" fmla="*/ 0 h 1447800"/>
              <a:gd name="connsiteX1" fmla="*/ 447675 w 447675"/>
              <a:gd name="connsiteY1" fmla="*/ 0 h 1447800"/>
              <a:gd name="connsiteX2" fmla="*/ 19050 w 447675"/>
              <a:gd name="connsiteY2" fmla="*/ 1447800 h 1447800"/>
              <a:gd name="connsiteX3" fmla="*/ 0 w 447675"/>
              <a:gd name="connsiteY3" fmla="*/ 0 h 1447800"/>
              <a:gd name="connsiteX0" fmla="*/ 0 w 447675"/>
              <a:gd name="connsiteY0" fmla="*/ 0 h 1476375"/>
              <a:gd name="connsiteX1" fmla="*/ 447675 w 447675"/>
              <a:gd name="connsiteY1" fmla="*/ 0 h 1476375"/>
              <a:gd name="connsiteX2" fmla="*/ 9525 w 447675"/>
              <a:gd name="connsiteY2" fmla="*/ 1476375 h 1476375"/>
              <a:gd name="connsiteX3" fmla="*/ 0 w 447675"/>
              <a:gd name="connsiteY3" fmla="*/ 0 h 1476375"/>
              <a:gd name="connsiteX0" fmla="*/ 0 w 438150"/>
              <a:gd name="connsiteY0" fmla="*/ 28575 h 1476375"/>
              <a:gd name="connsiteX1" fmla="*/ 438150 w 438150"/>
              <a:gd name="connsiteY1" fmla="*/ 0 h 1476375"/>
              <a:gd name="connsiteX2" fmla="*/ 0 w 438150"/>
              <a:gd name="connsiteY2" fmla="*/ 1476375 h 1476375"/>
              <a:gd name="connsiteX3" fmla="*/ 0 w 438150"/>
              <a:gd name="connsiteY3" fmla="*/ 28575 h 1476375"/>
              <a:gd name="connsiteX0" fmla="*/ 9525 w 438150"/>
              <a:gd name="connsiteY0" fmla="*/ 9525 h 1476375"/>
              <a:gd name="connsiteX1" fmla="*/ 438150 w 438150"/>
              <a:gd name="connsiteY1" fmla="*/ 0 h 1476375"/>
              <a:gd name="connsiteX2" fmla="*/ 0 w 438150"/>
              <a:gd name="connsiteY2" fmla="*/ 1476375 h 1476375"/>
              <a:gd name="connsiteX3" fmla="*/ 9525 w 438150"/>
              <a:gd name="connsiteY3" fmla="*/ 9525 h 1476375"/>
              <a:gd name="connsiteX0" fmla="*/ 0 w 428625"/>
              <a:gd name="connsiteY0" fmla="*/ 9525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0 w 428625"/>
              <a:gd name="connsiteY3" fmla="*/ 9525 h 1504950"/>
              <a:gd name="connsiteX0" fmla="*/ 19050 w 428625"/>
              <a:gd name="connsiteY0" fmla="*/ 0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19050 w 428625"/>
              <a:gd name="connsiteY3" fmla="*/ 0 h 1504950"/>
              <a:gd name="connsiteX0" fmla="*/ 0 w 428625"/>
              <a:gd name="connsiteY0" fmla="*/ 0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0 w 428625"/>
              <a:gd name="connsiteY3" fmla="*/ 0 h 1504950"/>
              <a:gd name="connsiteX0" fmla="*/ 0 w 428625"/>
              <a:gd name="connsiteY0" fmla="*/ 0 h 1581150"/>
              <a:gd name="connsiteX1" fmla="*/ 428625 w 428625"/>
              <a:gd name="connsiteY1" fmla="*/ 0 h 1581150"/>
              <a:gd name="connsiteX2" fmla="*/ 0 w 428625"/>
              <a:gd name="connsiteY2" fmla="*/ 1581150 h 1581150"/>
              <a:gd name="connsiteX3" fmla="*/ 0 w 428625"/>
              <a:gd name="connsiteY3" fmla="*/ 0 h 1581150"/>
              <a:gd name="connsiteX0" fmla="*/ 0 w 428625"/>
              <a:gd name="connsiteY0" fmla="*/ 0 h 1743075"/>
              <a:gd name="connsiteX1" fmla="*/ 428625 w 428625"/>
              <a:gd name="connsiteY1" fmla="*/ 0 h 1743075"/>
              <a:gd name="connsiteX2" fmla="*/ 0 w 428625"/>
              <a:gd name="connsiteY2" fmla="*/ 1743075 h 1743075"/>
              <a:gd name="connsiteX3" fmla="*/ 0 w 428625"/>
              <a:gd name="connsiteY3" fmla="*/ 0 h 1743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8625" h="1743075">
                <a:moveTo>
                  <a:pt x="0" y="0"/>
                </a:moveTo>
                <a:lnTo>
                  <a:pt x="428625" y="0"/>
                </a:lnTo>
                <a:lnTo>
                  <a:pt x="0" y="1743075"/>
                </a:lnTo>
                <a:lnTo>
                  <a:pt x="0" y="0"/>
                </a:lnTo>
                <a:close/>
              </a:path>
            </a:pathLst>
          </a:custGeom>
          <a:solidFill>
            <a:srgbClr val="6E6B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олилиния 8"/>
          <p:cNvSpPr/>
          <p:nvPr/>
        </p:nvSpPr>
        <p:spPr>
          <a:xfrm>
            <a:off x="6733685" y="331336"/>
            <a:ext cx="4337812" cy="438410"/>
          </a:xfrm>
          <a:custGeom>
            <a:avLst/>
            <a:gdLst>
              <a:gd name="connsiteX0" fmla="*/ 76200 w 3352800"/>
              <a:gd name="connsiteY0" fmla="*/ 0 h 438150"/>
              <a:gd name="connsiteX1" fmla="*/ 3352800 w 3352800"/>
              <a:gd name="connsiteY1" fmla="*/ 9525 h 438150"/>
              <a:gd name="connsiteX2" fmla="*/ 3352800 w 3352800"/>
              <a:gd name="connsiteY2" fmla="*/ 438150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52800"/>
              <a:gd name="connsiteY0" fmla="*/ 0 h 438150"/>
              <a:gd name="connsiteX1" fmla="*/ 3343275 w 3352800"/>
              <a:gd name="connsiteY1" fmla="*/ 0 h 438150"/>
              <a:gd name="connsiteX2" fmla="*/ 3352800 w 3352800"/>
              <a:gd name="connsiteY2" fmla="*/ 438150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43275"/>
              <a:gd name="connsiteY0" fmla="*/ 0 h 438150"/>
              <a:gd name="connsiteX1" fmla="*/ 3343275 w 3343275"/>
              <a:gd name="connsiteY1" fmla="*/ 0 h 438150"/>
              <a:gd name="connsiteX2" fmla="*/ 3333750 w 3343275"/>
              <a:gd name="connsiteY2" fmla="*/ 438150 h 438150"/>
              <a:gd name="connsiteX3" fmla="*/ 0 w 3343275"/>
              <a:gd name="connsiteY3" fmla="*/ 438150 h 438150"/>
              <a:gd name="connsiteX4" fmla="*/ 76200 w 3343275"/>
              <a:gd name="connsiteY4" fmla="*/ 0 h 438150"/>
              <a:gd name="connsiteX0" fmla="*/ 76200 w 3352800"/>
              <a:gd name="connsiteY0" fmla="*/ 0 h 438150"/>
              <a:gd name="connsiteX1" fmla="*/ 3343275 w 3352800"/>
              <a:gd name="connsiteY1" fmla="*/ 0 h 438150"/>
              <a:gd name="connsiteX2" fmla="*/ 3352800 w 3352800"/>
              <a:gd name="connsiteY2" fmla="*/ 428625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43275"/>
              <a:gd name="connsiteY0" fmla="*/ 0 h 447675"/>
              <a:gd name="connsiteX1" fmla="*/ 3343275 w 3343275"/>
              <a:gd name="connsiteY1" fmla="*/ 0 h 447675"/>
              <a:gd name="connsiteX2" fmla="*/ 3333750 w 3343275"/>
              <a:gd name="connsiteY2" fmla="*/ 447675 h 447675"/>
              <a:gd name="connsiteX3" fmla="*/ 0 w 3343275"/>
              <a:gd name="connsiteY3" fmla="*/ 438150 h 447675"/>
              <a:gd name="connsiteX4" fmla="*/ 76200 w 3343275"/>
              <a:gd name="connsiteY4" fmla="*/ 0 h 447675"/>
              <a:gd name="connsiteX0" fmla="*/ 76200 w 3343275"/>
              <a:gd name="connsiteY0" fmla="*/ 0 h 438150"/>
              <a:gd name="connsiteX1" fmla="*/ 3343275 w 3343275"/>
              <a:gd name="connsiteY1" fmla="*/ 0 h 438150"/>
              <a:gd name="connsiteX2" fmla="*/ 3343275 w 3343275"/>
              <a:gd name="connsiteY2" fmla="*/ 438150 h 438150"/>
              <a:gd name="connsiteX3" fmla="*/ 0 w 3343275"/>
              <a:gd name="connsiteY3" fmla="*/ 438150 h 438150"/>
              <a:gd name="connsiteX4" fmla="*/ 76200 w 3343275"/>
              <a:gd name="connsiteY4" fmla="*/ 0 h 438150"/>
              <a:gd name="connsiteX0" fmla="*/ 144439 w 3411514"/>
              <a:gd name="connsiteY0" fmla="*/ 0 h 438150"/>
              <a:gd name="connsiteX1" fmla="*/ 3411514 w 3411514"/>
              <a:gd name="connsiteY1" fmla="*/ 0 h 438150"/>
              <a:gd name="connsiteX2" fmla="*/ 3411514 w 3411514"/>
              <a:gd name="connsiteY2" fmla="*/ 438150 h 438150"/>
              <a:gd name="connsiteX3" fmla="*/ 0 w 3411514"/>
              <a:gd name="connsiteY3" fmla="*/ 438150 h 438150"/>
              <a:gd name="connsiteX4" fmla="*/ 144439 w 3411514"/>
              <a:gd name="connsiteY4" fmla="*/ 0 h 438150"/>
              <a:gd name="connsiteX0" fmla="*/ 117143 w 3384218"/>
              <a:gd name="connsiteY0" fmla="*/ 0 h 438150"/>
              <a:gd name="connsiteX1" fmla="*/ 3384218 w 3384218"/>
              <a:gd name="connsiteY1" fmla="*/ 0 h 438150"/>
              <a:gd name="connsiteX2" fmla="*/ 3384218 w 3384218"/>
              <a:gd name="connsiteY2" fmla="*/ 438150 h 438150"/>
              <a:gd name="connsiteX3" fmla="*/ 0 w 3384218"/>
              <a:gd name="connsiteY3" fmla="*/ 438150 h 438150"/>
              <a:gd name="connsiteX4" fmla="*/ 117143 w 3384218"/>
              <a:gd name="connsiteY4" fmla="*/ 0 h 438150"/>
              <a:gd name="connsiteX0" fmla="*/ 117143 w 4325913"/>
              <a:gd name="connsiteY0" fmla="*/ 0 h 438150"/>
              <a:gd name="connsiteX1" fmla="*/ 4325913 w 4325913"/>
              <a:gd name="connsiteY1" fmla="*/ 0 h 438150"/>
              <a:gd name="connsiteX2" fmla="*/ 3384218 w 4325913"/>
              <a:gd name="connsiteY2" fmla="*/ 438150 h 438150"/>
              <a:gd name="connsiteX3" fmla="*/ 0 w 4325913"/>
              <a:gd name="connsiteY3" fmla="*/ 438150 h 438150"/>
              <a:gd name="connsiteX4" fmla="*/ 117143 w 4325913"/>
              <a:gd name="connsiteY4" fmla="*/ 0 h 438150"/>
              <a:gd name="connsiteX0" fmla="*/ 117143 w 4325913"/>
              <a:gd name="connsiteY0" fmla="*/ 0 h 451798"/>
              <a:gd name="connsiteX1" fmla="*/ 4325913 w 4325913"/>
              <a:gd name="connsiteY1" fmla="*/ 0 h 451798"/>
              <a:gd name="connsiteX2" fmla="*/ 4312266 w 4325913"/>
              <a:gd name="connsiteY2" fmla="*/ 451798 h 451798"/>
              <a:gd name="connsiteX3" fmla="*/ 0 w 4325913"/>
              <a:gd name="connsiteY3" fmla="*/ 438150 h 451798"/>
              <a:gd name="connsiteX4" fmla="*/ 117143 w 4325913"/>
              <a:gd name="connsiteY4" fmla="*/ 0 h 451798"/>
              <a:gd name="connsiteX0" fmla="*/ 117143 w 4325914"/>
              <a:gd name="connsiteY0" fmla="*/ 0 h 438150"/>
              <a:gd name="connsiteX1" fmla="*/ 4325913 w 4325914"/>
              <a:gd name="connsiteY1" fmla="*/ 0 h 438150"/>
              <a:gd name="connsiteX2" fmla="*/ 4325914 w 4325914"/>
              <a:gd name="connsiteY2" fmla="*/ 438150 h 438150"/>
              <a:gd name="connsiteX3" fmla="*/ 0 w 4325914"/>
              <a:gd name="connsiteY3" fmla="*/ 438150 h 438150"/>
              <a:gd name="connsiteX4" fmla="*/ 117143 w 4325914"/>
              <a:gd name="connsiteY4" fmla="*/ 0 h 438150"/>
              <a:gd name="connsiteX0" fmla="*/ 117143 w 4339562"/>
              <a:gd name="connsiteY0" fmla="*/ 0 h 451797"/>
              <a:gd name="connsiteX1" fmla="*/ 4325913 w 4339562"/>
              <a:gd name="connsiteY1" fmla="*/ 0 h 451797"/>
              <a:gd name="connsiteX2" fmla="*/ 4339562 w 4339562"/>
              <a:gd name="connsiteY2" fmla="*/ 451797 h 451797"/>
              <a:gd name="connsiteX3" fmla="*/ 0 w 4339562"/>
              <a:gd name="connsiteY3" fmla="*/ 438150 h 451797"/>
              <a:gd name="connsiteX4" fmla="*/ 117143 w 4339562"/>
              <a:gd name="connsiteY4" fmla="*/ 0 h 451797"/>
              <a:gd name="connsiteX0" fmla="*/ 117143 w 4325913"/>
              <a:gd name="connsiteY0" fmla="*/ 0 h 451797"/>
              <a:gd name="connsiteX1" fmla="*/ 4325913 w 4325913"/>
              <a:gd name="connsiteY1" fmla="*/ 0 h 451797"/>
              <a:gd name="connsiteX2" fmla="*/ 4312266 w 4325913"/>
              <a:gd name="connsiteY2" fmla="*/ 451797 h 451797"/>
              <a:gd name="connsiteX3" fmla="*/ 0 w 4325913"/>
              <a:gd name="connsiteY3" fmla="*/ 438150 h 451797"/>
              <a:gd name="connsiteX4" fmla="*/ 117143 w 4325913"/>
              <a:gd name="connsiteY4" fmla="*/ 0 h 451797"/>
              <a:gd name="connsiteX0" fmla="*/ 117143 w 4325914"/>
              <a:gd name="connsiteY0" fmla="*/ 0 h 438150"/>
              <a:gd name="connsiteX1" fmla="*/ 4325913 w 4325914"/>
              <a:gd name="connsiteY1" fmla="*/ 0 h 438150"/>
              <a:gd name="connsiteX2" fmla="*/ 4325914 w 4325914"/>
              <a:gd name="connsiteY2" fmla="*/ 424502 h 438150"/>
              <a:gd name="connsiteX3" fmla="*/ 0 w 4325914"/>
              <a:gd name="connsiteY3" fmla="*/ 438150 h 438150"/>
              <a:gd name="connsiteX4" fmla="*/ 117143 w 4325914"/>
              <a:gd name="connsiteY4" fmla="*/ 0 h 438150"/>
              <a:gd name="connsiteX0" fmla="*/ 117143 w 4325913"/>
              <a:gd name="connsiteY0" fmla="*/ 0 h 438409"/>
              <a:gd name="connsiteX1" fmla="*/ 4325913 w 4325913"/>
              <a:gd name="connsiteY1" fmla="*/ 0 h 438409"/>
              <a:gd name="connsiteX2" fmla="*/ 4318960 w 4325913"/>
              <a:gd name="connsiteY2" fmla="*/ 438409 h 438409"/>
              <a:gd name="connsiteX3" fmla="*/ 0 w 4325913"/>
              <a:gd name="connsiteY3" fmla="*/ 438150 h 438409"/>
              <a:gd name="connsiteX4" fmla="*/ 117143 w 4325913"/>
              <a:gd name="connsiteY4" fmla="*/ 0 h 438409"/>
              <a:gd name="connsiteX0" fmla="*/ 154850 w 4325913"/>
              <a:gd name="connsiteY0" fmla="*/ 9427 h 438409"/>
              <a:gd name="connsiteX1" fmla="*/ 4325913 w 4325913"/>
              <a:gd name="connsiteY1" fmla="*/ 0 h 438409"/>
              <a:gd name="connsiteX2" fmla="*/ 4318960 w 4325913"/>
              <a:gd name="connsiteY2" fmla="*/ 438409 h 438409"/>
              <a:gd name="connsiteX3" fmla="*/ 0 w 4325913"/>
              <a:gd name="connsiteY3" fmla="*/ 438150 h 438409"/>
              <a:gd name="connsiteX4" fmla="*/ 154850 w 4325913"/>
              <a:gd name="connsiteY4" fmla="*/ 9427 h 438409"/>
              <a:gd name="connsiteX0" fmla="*/ 117143 w 4288206"/>
              <a:gd name="connsiteY0" fmla="*/ 9427 h 438409"/>
              <a:gd name="connsiteX1" fmla="*/ 4288206 w 4288206"/>
              <a:gd name="connsiteY1" fmla="*/ 0 h 438409"/>
              <a:gd name="connsiteX2" fmla="*/ 4281253 w 4288206"/>
              <a:gd name="connsiteY2" fmla="*/ 438409 h 438409"/>
              <a:gd name="connsiteX3" fmla="*/ 0 w 4288206"/>
              <a:gd name="connsiteY3" fmla="*/ 428723 h 438409"/>
              <a:gd name="connsiteX4" fmla="*/ 117143 w 4288206"/>
              <a:gd name="connsiteY4" fmla="*/ 9427 h 438409"/>
              <a:gd name="connsiteX0" fmla="*/ 126570 w 4288206"/>
              <a:gd name="connsiteY0" fmla="*/ 0 h 438409"/>
              <a:gd name="connsiteX1" fmla="*/ 4288206 w 4288206"/>
              <a:gd name="connsiteY1" fmla="*/ 0 h 438409"/>
              <a:gd name="connsiteX2" fmla="*/ 4281253 w 4288206"/>
              <a:gd name="connsiteY2" fmla="*/ 438409 h 438409"/>
              <a:gd name="connsiteX3" fmla="*/ 0 w 4288206"/>
              <a:gd name="connsiteY3" fmla="*/ 428723 h 438409"/>
              <a:gd name="connsiteX4" fmla="*/ 126570 w 4288206"/>
              <a:gd name="connsiteY4" fmla="*/ 0 h 438409"/>
              <a:gd name="connsiteX0" fmla="*/ 107716 w 4269352"/>
              <a:gd name="connsiteY0" fmla="*/ 0 h 438409"/>
              <a:gd name="connsiteX1" fmla="*/ 4269352 w 4269352"/>
              <a:gd name="connsiteY1" fmla="*/ 0 h 438409"/>
              <a:gd name="connsiteX2" fmla="*/ 4262399 w 4269352"/>
              <a:gd name="connsiteY2" fmla="*/ 438409 h 438409"/>
              <a:gd name="connsiteX3" fmla="*/ 0 w 4269352"/>
              <a:gd name="connsiteY3" fmla="*/ 428723 h 438409"/>
              <a:gd name="connsiteX4" fmla="*/ 107716 w 4269352"/>
              <a:gd name="connsiteY4" fmla="*/ 0 h 438409"/>
              <a:gd name="connsiteX0" fmla="*/ 126569 w 4288205"/>
              <a:gd name="connsiteY0" fmla="*/ 0 h 438409"/>
              <a:gd name="connsiteX1" fmla="*/ 4288205 w 4288205"/>
              <a:gd name="connsiteY1" fmla="*/ 0 h 438409"/>
              <a:gd name="connsiteX2" fmla="*/ 4281252 w 4288205"/>
              <a:gd name="connsiteY2" fmla="*/ 438409 h 438409"/>
              <a:gd name="connsiteX3" fmla="*/ 0 w 4288205"/>
              <a:gd name="connsiteY3" fmla="*/ 428723 h 438409"/>
              <a:gd name="connsiteX4" fmla="*/ 126569 w 4288205"/>
              <a:gd name="connsiteY4" fmla="*/ 0 h 438409"/>
              <a:gd name="connsiteX0" fmla="*/ 126569 w 4288205"/>
              <a:gd name="connsiteY0" fmla="*/ 0 h 438409"/>
              <a:gd name="connsiteX1" fmla="*/ 4288205 w 4288205"/>
              <a:gd name="connsiteY1" fmla="*/ 0 h 438409"/>
              <a:gd name="connsiteX2" fmla="*/ 4281252 w 4288205"/>
              <a:gd name="connsiteY2" fmla="*/ 438409 h 438409"/>
              <a:gd name="connsiteX3" fmla="*/ 0 w 4288205"/>
              <a:gd name="connsiteY3" fmla="*/ 428723 h 438409"/>
              <a:gd name="connsiteX4" fmla="*/ 126569 w 4288205"/>
              <a:gd name="connsiteY4" fmla="*/ 0 h 438409"/>
              <a:gd name="connsiteX0" fmla="*/ 135995 w 4297631"/>
              <a:gd name="connsiteY0" fmla="*/ 0 h 438409"/>
              <a:gd name="connsiteX1" fmla="*/ 4297631 w 4297631"/>
              <a:gd name="connsiteY1" fmla="*/ 0 h 438409"/>
              <a:gd name="connsiteX2" fmla="*/ 4290678 w 4297631"/>
              <a:gd name="connsiteY2" fmla="*/ 438409 h 438409"/>
              <a:gd name="connsiteX3" fmla="*/ 0 w 4297631"/>
              <a:gd name="connsiteY3" fmla="*/ 438150 h 438409"/>
              <a:gd name="connsiteX4" fmla="*/ 135995 w 4297631"/>
              <a:gd name="connsiteY4" fmla="*/ 0 h 438409"/>
              <a:gd name="connsiteX0" fmla="*/ 135995 w 4309531"/>
              <a:gd name="connsiteY0" fmla="*/ 0 h 438150"/>
              <a:gd name="connsiteX1" fmla="*/ 4297631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16484"/>
              <a:gd name="connsiteY0" fmla="*/ 0 h 438150"/>
              <a:gd name="connsiteX1" fmla="*/ 4316484 w 4316484"/>
              <a:gd name="connsiteY1" fmla="*/ 0 h 438150"/>
              <a:gd name="connsiteX2" fmla="*/ 4309531 w 4316484"/>
              <a:gd name="connsiteY2" fmla="*/ 428983 h 438150"/>
              <a:gd name="connsiteX3" fmla="*/ 0 w 4316484"/>
              <a:gd name="connsiteY3" fmla="*/ 438150 h 438150"/>
              <a:gd name="connsiteX4" fmla="*/ 135995 w 4316484"/>
              <a:gd name="connsiteY4" fmla="*/ 0 h 438150"/>
              <a:gd name="connsiteX0" fmla="*/ 135995 w 4309531"/>
              <a:gd name="connsiteY0" fmla="*/ 0 h 438150"/>
              <a:gd name="connsiteX1" fmla="*/ 4307057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09531"/>
              <a:gd name="connsiteY0" fmla="*/ 0 h 438150"/>
              <a:gd name="connsiteX1" fmla="*/ 4307057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07057"/>
              <a:gd name="connsiteY0" fmla="*/ 0 h 438410"/>
              <a:gd name="connsiteX1" fmla="*/ 4307057 w 4307057"/>
              <a:gd name="connsiteY1" fmla="*/ 0 h 438410"/>
              <a:gd name="connsiteX2" fmla="*/ 4300104 w 4307057"/>
              <a:gd name="connsiteY2" fmla="*/ 438410 h 438410"/>
              <a:gd name="connsiteX3" fmla="*/ 0 w 4307057"/>
              <a:gd name="connsiteY3" fmla="*/ 438150 h 438410"/>
              <a:gd name="connsiteX4" fmla="*/ 135995 w 4307057"/>
              <a:gd name="connsiteY4" fmla="*/ 0 h 438410"/>
              <a:gd name="connsiteX0" fmla="*/ 135995 w 4300104"/>
              <a:gd name="connsiteY0" fmla="*/ 0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135995 w 4300104"/>
              <a:gd name="connsiteY4" fmla="*/ 0 h 438410"/>
              <a:gd name="connsiteX0" fmla="*/ 88861 w 4300104"/>
              <a:gd name="connsiteY0" fmla="*/ 9427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88861 w 4300104"/>
              <a:gd name="connsiteY4" fmla="*/ 9427 h 438410"/>
              <a:gd name="connsiteX0" fmla="*/ 88861 w 4300104"/>
              <a:gd name="connsiteY0" fmla="*/ 9427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88861 w 4300104"/>
              <a:gd name="connsiteY4" fmla="*/ 9427 h 438410"/>
              <a:gd name="connsiteX0" fmla="*/ 98288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98288 w 4309531"/>
              <a:gd name="connsiteY4" fmla="*/ 9427 h 438410"/>
              <a:gd name="connsiteX0" fmla="*/ 98288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98288 w 4309531"/>
              <a:gd name="connsiteY4" fmla="*/ 9427 h 438410"/>
              <a:gd name="connsiteX0" fmla="*/ 79434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9427 h 438410"/>
              <a:gd name="connsiteX0" fmla="*/ 79434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9427 h 438410"/>
              <a:gd name="connsiteX0" fmla="*/ 79434 w 4309531"/>
              <a:gd name="connsiteY0" fmla="*/ 4832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4832 h 438410"/>
              <a:gd name="connsiteX0" fmla="*/ 88624 w 4309531"/>
              <a:gd name="connsiteY0" fmla="*/ 4832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88624 w 4309531"/>
              <a:gd name="connsiteY4" fmla="*/ 4832 h 438410"/>
              <a:gd name="connsiteX0" fmla="*/ 74839 w 4309531"/>
              <a:gd name="connsiteY0" fmla="*/ 23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4839 w 4309531"/>
              <a:gd name="connsiteY4" fmla="*/ 237 h 438410"/>
              <a:gd name="connsiteX0" fmla="*/ 103120 w 4337812"/>
              <a:gd name="connsiteY0" fmla="*/ 237 h 438410"/>
              <a:gd name="connsiteX1" fmla="*/ 4335712 w 4337812"/>
              <a:gd name="connsiteY1" fmla="*/ 0 h 438410"/>
              <a:gd name="connsiteX2" fmla="*/ 4337812 w 4337812"/>
              <a:gd name="connsiteY2" fmla="*/ 438410 h 438410"/>
              <a:gd name="connsiteX3" fmla="*/ 0 w 4337812"/>
              <a:gd name="connsiteY3" fmla="*/ 428723 h 438410"/>
              <a:gd name="connsiteX4" fmla="*/ 103120 w 4337812"/>
              <a:gd name="connsiteY4" fmla="*/ 237 h 438410"/>
              <a:gd name="connsiteX0" fmla="*/ 103120 w 4337812"/>
              <a:gd name="connsiteY0" fmla="*/ 237 h 447577"/>
              <a:gd name="connsiteX1" fmla="*/ 4335712 w 4337812"/>
              <a:gd name="connsiteY1" fmla="*/ 0 h 447577"/>
              <a:gd name="connsiteX2" fmla="*/ 4337812 w 4337812"/>
              <a:gd name="connsiteY2" fmla="*/ 438410 h 447577"/>
              <a:gd name="connsiteX3" fmla="*/ 0 w 4337812"/>
              <a:gd name="connsiteY3" fmla="*/ 447577 h 447577"/>
              <a:gd name="connsiteX4" fmla="*/ 103120 w 4337812"/>
              <a:gd name="connsiteY4" fmla="*/ 237 h 447577"/>
              <a:gd name="connsiteX0" fmla="*/ 103120 w 4337812"/>
              <a:gd name="connsiteY0" fmla="*/ 237 h 447577"/>
              <a:gd name="connsiteX1" fmla="*/ 4335712 w 4337812"/>
              <a:gd name="connsiteY1" fmla="*/ 0 h 447577"/>
              <a:gd name="connsiteX2" fmla="*/ 4337812 w 4337812"/>
              <a:gd name="connsiteY2" fmla="*/ 438410 h 447577"/>
              <a:gd name="connsiteX3" fmla="*/ 0 w 4337812"/>
              <a:gd name="connsiteY3" fmla="*/ 447577 h 447577"/>
              <a:gd name="connsiteX4" fmla="*/ 103120 w 4337812"/>
              <a:gd name="connsiteY4" fmla="*/ 237 h 447577"/>
              <a:gd name="connsiteX0" fmla="*/ 103120 w 4337812"/>
              <a:gd name="connsiteY0" fmla="*/ 237 h 438410"/>
              <a:gd name="connsiteX1" fmla="*/ 4335712 w 4337812"/>
              <a:gd name="connsiteY1" fmla="*/ 0 h 438410"/>
              <a:gd name="connsiteX2" fmla="*/ 4337812 w 4337812"/>
              <a:gd name="connsiteY2" fmla="*/ 438410 h 438410"/>
              <a:gd name="connsiteX3" fmla="*/ 0 w 4337812"/>
              <a:gd name="connsiteY3" fmla="*/ 438150 h 438410"/>
              <a:gd name="connsiteX4" fmla="*/ 103120 w 4337812"/>
              <a:gd name="connsiteY4" fmla="*/ 237 h 438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37812" h="438410">
                <a:moveTo>
                  <a:pt x="103120" y="237"/>
                </a:moveTo>
                <a:lnTo>
                  <a:pt x="4335712" y="0"/>
                </a:lnTo>
                <a:cubicBezTo>
                  <a:pt x="4335712" y="146050"/>
                  <a:pt x="4337812" y="292360"/>
                  <a:pt x="4337812" y="438410"/>
                </a:cubicBezTo>
                <a:lnTo>
                  <a:pt x="0" y="438150"/>
                </a:lnTo>
                <a:lnTo>
                  <a:pt x="103120" y="237"/>
                </a:lnTo>
                <a:close/>
              </a:path>
            </a:pathLst>
          </a:custGeom>
          <a:solidFill>
            <a:srgbClr val="3D49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chemeClr val="bg1"/>
                </a:solidFill>
                <a:latin typeface="PT Sans Narrow" panose="020B0604020202020204" charset="-52"/>
              </a:rPr>
              <a:t>CONTAINER ROUTES VIA VORSINO</a:t>
            </a:r>
            <a:endParaRPr lang="ru-RU" sz="1600" b="1" dirty="0">
              <a:solidFill>
                <a:schemeClr val="bg1"/>
              </a:solidFill>
              <a:latin typeface="PT Sans Narrow" panose="020B0604020202020204" charset="-52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3937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5</a:t>
            </a:fld>
            <a:endParaRPr lang="ru-RU"/>
          </a:p>
        </p:txBody>
      </p:sp>
      <p:sp>
        <p:nvSpPr>
          <p:cNvPr id="11" name="Полилиния 10"/>
          <p:cNvSpPr/>
          <p:nvPr/>
        </p:nvSpPr>
        <p:spPr>
          <a:xfrm>
            <a:off x="6718423" y="331336"/>
            <a:ext cx="4337812" cy="438410"/>
          </a:xfrm>
          <a:custGeom>
            <a:avLst/>
            <a:gdLst>
              <a:gd name="connsiteX0" fmla="*/ 76200 w 3352800"/>
              <a:gd name="connsiteY0" fmla="*/ 0 h 438150"/>
              <a:gd name="connsiteX1" fmla="*/ 3352800 w 3352800"/>
              <a:gd name="connsiteY1" fmla="*/ 9525 h 438150"/>
              <a:gd name="connsiteX2" fmla="*/ 3352800 w 3352800"/>
              <a:gd name="connsiteY2" fmla="*/ 438150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52800"/>
              <a:gd name="connsiteY0" fmla="*/ 0 h 438150"/>
              <a:gd name="connsiteX1" fmla="*/ 3343275 w 3352800"/>
              <a:gd name="connsiteY1" fmla="*/ 0 h 438150"/>
              <a:gd name="connsiteX2" fmla="*/ 3352800 w 3352800"/>
              <a:gd name="connsiteY2" fmla="*/ 438150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43275"/>
              <a:gd name="connsiteY0" fmla="*/ 0 h 438150"/>
              <a:gd name="connsiteX1" fmla="*/ 3343275 w 3343275"/>
              <a:gd name="connsiteY1" fmla="*/ 0 h 438150"/>
              <a:gd name="connsiteX2" fmla="*/ 3333750 w 3343275"/>
              <a:gd name="connsiteY2" fmla="*/ 438150 h 438150"/>
              <a:gd name="connsiteX3" fmla="*/ 0 w 3343275"/>
              <a:gd name="connsiteY3" fmla="*/ 438150 h 438150"/>
              <a:gd name="connsiteX4" fmla="*/ 76200 w 3343275"/>
              <a:gd name="connsiteY4" fmla="*/ 0 h 438150"/>
              <a:gd name="connsiteX0" fmla="*/ 76200 w 3352800"/>
              <a:gd name="connsiteY0" fmla="*/ 0 h 438150"/>
              <a:gd name="connsiteX1" fmla="*/ 3343275 w 3352800"/>
              <a:gd name="connsiteY1" fmla="*/ 0 h 438150"/>
              <a:gd name="connsiteX2" fmla="*/ 3352800 w 3352800"/>
              <a:gd name="connsiteY2" fmla="*/ 428625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43275"/>
              <a:gd name="connsiteY0" fmla="*/ 0 h 447675"/>
              <a:gd name="connsiteX1" fmla="*/ 3343275 w 3343275"/>
              <a:gd name="connsiteY1" fmla="*/ 0 h 447675"/>
              <a:gd name="connsiteX2" fmla="*/ 3333750 w 3343275"/>
              <a:gd name="connsiteY2" fmla="*/ 447675 h 447675"/>
              <a:gd name="connsiteX3" fmla="*/ 0 w 3343275"/>
              <a:gd name="connsiteY3" fmla="*/ 438150 h 447675"/>
              <a:gd name="connsiteX4" fmla="*/ 76200 w 3343275"/>
              <a:gd name="connsiteY4" fmla="*/ 0 h 447675"/>
              <a:gd name="connsiteX0" fmla="*/ 76200 w 3343275"/>
              <a:gd name="connsiteY0" fmla="*/ 0 h 438150"/>
              <a:gd name="connsiteX1" fmla="*/ 3343275 w 3343275"/>
              <a:gd name="connsiteY1" fmla="*/ 0 h 438150"/>
              <a:gd name="connsiteX2" fmla="*/ 3343275 w 3343275"/>
              <a:gd name="connsiteY2" fmla="*/ 438150 h 438150"/>
              <a:gd name="connsiteX3" fmla="*/ 0 w 3343275"/>
              <a:gd name="connsiteY3" fmla="*/ 438150 h 438150"/>
              <a:gd name="connsiteX4" fmla="*/ 76200 w 3343275"/>
              <a:gd name="connsiteY4" fmla="*/ 0 h 438150"/>
              <a:gd name="connsiteX0" fmla="*/ 144439 w 3411514"/>
              <a:gd name="connsiteY0" fmla="*/ 0 h 438150"/>
              <a:gd name="connsiteX1" fmla="*/ 3411514 w 3411514"/>
              <a:gd name="connsiteY1" fmla="*/ 0 h 438150"/>
              <a:gd name="connsiteX2" fmla="*/ 3411514 w 3411514"/>
              <a:gd name="connsiteY2" fmla="*/ 438150 h 438150"/>
              <a:gd name="connsiteX3" fmla="*/ 0 w 3411514"/>
              <a:gd name="connsiteY3" fmla="*/ 438150 h 438150"/>
              <a:gd name="connsiteX4" fmla="*/ 144439 w 3411514"/>
              <a:gd name="connsiteY4" fmla="*/ 0 h 438150"/>
              <a:gd name="connsiteX0" fmla="*/ 117143 w 3384218"/>
              <a:gd name="connsiteY0" fmla="*/ 0 h 438150"/>
              <a:gd name="connsiteX1" fmla="*/ 3384218 w 3384218"/>
              <a:gd name="connsiteY1" fmla="*/ 0 h 438150"/>
              <a:gd name="connsiteX2" fmla="*/ 3384218 w 3384218"/>
              <a:gd name="connsiteY2" fmla="*/ 438150 h 438150"/>
              <a:gd name="connsiteX3" fmla="*/ 0 w 3384218"/>
              <a:gd name="connsiteY3" fmla="*/ 438150 h 438150"/>
              <a:gd name="connsiteX4" fmla="*/ 117143 w 3384218"/>
              <a:gd name="connsiteY4" fmla="*/ 0 h 438150"/>
              <a:gd name="connsiteX0" fmla="*/ 117143 w 4325913"/>
              <a:gd name="connsiteY0" fmla="*/ 0 h 438150"/>
              <a:gd name="connsiteX1" fmla="*/ 4325913 w 4325913"/>
              <a:gd name="connsiteY1" fmla="*/ 0 h 438150"/>
              <a:gd name="connsiteX2" fmla="*/ 3384218 w 4325913"/>
              <a:gd name="connsiteY2" fmla="*/ 438150 h 438150"/>
              <a:gd name="connsiteX3" fmla="*/ 0 w 4325913"/>
              <a:gd name="connsiteY3" fmla="*/ 438150 h 438150"/>
              <a:gd name="connsiteX4" fmla="*/ 117143 w 4325913"/>
              <a:gd name="connsiteY4" fmla="*/ 0 h 438150"/>
              <a:gd name="connsiteX0" fmla="*/ 117143 w 4325913"/>
              <a:gd name="connsiteY0" fmla="*/ 0 h 451798"/>
              <a:gd name="connsiteX1" fmla="*/ 4325913 w 4325913"/>
              <a:gd name="connsiteY1" fmla="*/ 0 h 451798"/>
              <a:gd name="connsiteX2" fmla="*/ 4312266 w 4325913"/>
              <a:gd name="connsiteY2" fmla="*/ 451798 h 451798"/>
              <a:gd name="connsiteX3" fmla="*/ 0 w 4325913"/>
              <a:gd name="connsiteY3" fmla="*/ 438150 h 451798"/>
              <a:gd name="connsiteX4" fmla="*/ 117143 w 4325913"/>
              <a:gd name="connsiteY4" fmla="*/ 0 h 451798"/>
              <a:gd name="connsiteX0" fmla="*/ 117143 w 4325914"/>
              <a:gd name="connsiteY0" fmla="*/ 0 h 438150"/>
              <a:gd name="connsiteX1" fmla="*/ 4325913 w 4325914"/>
              <a:gd name="connsiteY1" fmla="*/ 0 h 438150"/>
              <a:gd name="connsiteX2" fmla="*/ 4325914 w 4325914"/>
              <a:gd name="connsiteY2" fmla="*/ 438150 h 438150"/>
              <a:gd name="connsiteX3" fmla="*/ 0 w 4325914"/>
              <a:gd name="connsiteY3" fmla="*/ 438150 h 438150"/>
              <a:gd name="connsiteX4" fmla="*/ 117143 w 4325914"/>
              <a:gd name="connsiteY4" fmla="*/ 0 h 438150"/>
              <a:gd name="connsiteX0" fmla="*/ 117143 w 4339562"/>
              <a:gd name="connsiteY0" fmla="*/ 0 h 451797"/>
              <a:gd name="connsiteX1" fmla="*/ 4325913 w 4339562"/>
              <a:gd name="connsiteY1" fmla="*/ 0 h 451797"/>
              <a:gd name="connsiteX2" fmla="*/ 4339562 w 4339562"/>
              <a:gd name="connsiteY2" fmla="*/ 451797 h 451797"/>
              <a:gd name="connsiteX3" fmla="*/ 0 w 4339562"/>
              <a:gd name="connsiteY3" fmla="*/ 438150 h 451797"/>
              <a:gd name="connsiteX4" fmla="*/ 117143 w 4339562"/>
              <a:gd name="connsiteY4" fmla="*/ 0 h 451797"/>
              <a:gd name="connsiteX0" fmla="*/ 117143 w 4325913"/>
              <a:gd name="connsiteY0" fmla="*/ 0 h 451797"/>
              <a:gd name="connsiteX1" fmla="*/ 4325913 w 4325913"/>
              <a:gd name="connsiteY1" fmla="*/ 0 h 451797"/>
              <a:gd name="connsiteX2" fmla="*/ 4312266 w 4325913"/>
              <a:gd name="connsiteY2" fmla="*/ 451797 h 451797"/>
              <a:gd name="connsiteX3" fmla="*/ 0 w 4325913"/>
              <a:gd name="connsiteY3" fmla="*/ 438150 h 451797"/>
              <a:gd name="connsiteX4" fmla="*/ 117143 w 4325913"/>
              <a:gd name="connsiteY4" fmla="*/ 0 h 451797"/>
              <a:gd name="connsiteX0" fmla="*/ 117143 w 4325914"/>
              <a:gd name="connsiteY0" fmla="*/ 0 h 438150"/>
              <a:gd name="connsiteX1" fmla="*/ 4325913 w 4325914"/>
              <a:gd name="connsiteY1" fmla="*/ 0 h 438150"/>
              <a:gd name="connsiteX2" fmla="*/ 4325914 w 4325914"/>
              <a:gd name="connsiteY2" fmla="*/ 424502 h 438150"/>
              <a:gd name="connsiteX3" fmla="*/ 0 w 4325914"/>
              <a:gd name="connsiteY3" fmla="*/ 438150 h 438150"/>
              <a:gd name="connsiteX4" fmla="*/ 117143 w 4325914"/>
              <a:gd name="connsiteY4" fmla="*/ 0 h 438150"/>
              <a:gd name="connsiteX0" fmla="*/ 117143 w 4325913"/>
              <a:gd name="connsiteY0" fmla="*/ 0 h 438409"/>
              <a:gd name="connsiteX1" fmla="*/ 4325913 w 4325913"/>
              <a:gd name="connsiteY1" fmla="*/ 0 h 438409"/>
              <a:gd name="connsiteX2" fmla="*/ 4318960 w 4325913"/>
              <a:gd name="connsiteY2" fmla="*/ 438409 h 438409"/>
              <a:gd name="connsiteX3" fmla="*/ 0 w 4325913"/>
              <a:gd name="connsiteY3" fmla="*/ 438150 h 438409"/>
              <a:gd name="connsiteX4" fmla="*/ 117143 w 4325913"/>
              <a:gd name="connsiteY4" fmla="*/ 0 h 438409"/>
              <a:gd name="connsiteX0" fmla="*/ 154850 w 4325913"/>
              <a:gd name="connsiteY0" fmla="*/ 9427 h 438409"/>
              <a:gd name="connsiteX1" fmla="*/ 4325913 w 4325913"/>
              <a:gd name="connsiteY1" fmla="*/ 0 h 438409"/>
              <a:gd name="connsiteX2" fmla="*/ 4318960 w 4325913"/>
              <a:gd name="connsiteY2" fmla="*/ 438409 h 438409"/>
              <a:gd name="connsiteX3" fmla="*/ 0 w 4325913"/>
              <a:gd name="connsiteY3" fmla="*/ 438150 h 438409"/>
              <a:gd name="connsiteX4" fmla="*/ 154850 w 4325913"/>
              <a:gd name="connsiteY4" fmla="*/ 9427 h 438409"/>
              <a:gd name="connsiteX0" fmla="*/ 117143 w 4288206"/>
              <a:gd name="connsiteY0" fmla="*/ 9427 h 438409"/>
              <a:gd name="connsiteX1" fmla="*/ 4288206 w 4288206"/>
              <a:gd name="connsiteY1" fmla="*/ 0 h 438409"/>
              <a:gd name="connsiteX2" fmla="*/ 4281253 w 4288206"/>
              <a:gd name="connsiteY2" fmla="*/ 438409 h 438409"/>
              <a:gd name="connsiteX3" fmla="*/ 0 w 4288206"/>
              <a:gd name="connsiteY3" fmla="*/ 428723 h 438409"/>
              <a:gd name="connsiteX4" fmla="*/ 117143 w 4288206"/>
              <a:gd name="connsiteY4" fmla="*/ 9427 h 438409"/>
              <a:gd name="connsiteX0" fmla="*/ 126570 w 4288206"/>
              <a:gd name="connsiteY0" fmla="*/ 0 h 438409"/>
              <a:gd name="connsiteX1" fmla="*/ 4288206 w 4288206"/>
              <a:gd name="connsiteY1" fmla="*/ 0 h 438409"/>
              <a:gd name="connsiteX2" fmla="*/ 4281253 w 4288206"/>
              <a:gd name="connsiteY2" fmla="*/ 438409 h 438409"/>
              <a:gd name="connsiteX3" fmla="*/ 0 w 4288206"/>
              <a:gd name="connsiteY3" fmla="*/ 428723 h 438409"/>
              <a:gd name="connsiteX4" fmla="*/ 126570 w 4288206"/>
              <a:gd name="connsiteY4" fmla="*/ 0 h 438409"/>
              <a:gd name="connsiteX0" fmla="*/ 107716 w 4269352"/>
              <a:gd name="connsiteY0" fmla="*/ 0 h 438409"/>
              <a:gd name="connsiteX1" fmla="*/ 4269352 w 4269352"/>
              <a:gd name="connsiteY1" fmla="*/ 0 h 438409"/>
              <a:gd name="connsiteX2" fmla="*/ 4262399 w 4269352"/>
              <a:gd name="connsiteY2" fmla="*/ 438409 h 438409"/>
              <a:gd name="connsiteX3" fmla="*/ 0 w 4269352"/>
              <a:gd name="connsiteY3" fmla="*/ 428723 h 438409"/>
              <a:gd name="connsiteX4" fmla="*/ 107716 w 4269352"/>
              <a:gd name="connsiteY4" fmla="*/ 0 h 438409"/>
              <a:gd name="connsiteX0" fmla="*/ 126569 w 4288205"/>
              <a:gd name="connsiteY0" fmla="*/ 0 h 438409"/>
              <a:gd name="connsiteX1" fmla="*/ 4288205 w 4288205"/>
              <a:gd name="connsiteY1" fmla="*/ 0 h 438409"/>
              <a:gd name="connsiteX2" fmla="*/ 4281252 w 4288205"/>
              <a:gd name="connsiteY2" fmla="*/ 438409 h 438409"/>
              <a:gd name="connsiteX3" fmla="*/ 0 w 4288205"/>
              <a:gd name="connsiteY3" fmla="*/ 428723 h 438409"/>
              <a:gd name="connsiteX4" fmla="*/ 126569 w 4288205"/>
              <a:gd name="connsiteY4" fmla="*/ 0 h 438409"/>
              <a:gd name="connsiteX0" fmla="*/ 126569 w 4288205"/>
              <a:gd name="connsiteY0" fmla="*/ 0 h 438409"/>
              <a:gd name="connsiteX1" fmla="*/ 4288205 w 4288205"/>
              <a:gd name="connsiteY1" fmla="*/ 0 h 438409"/>
              <a:gd name="connsiteX2" fmla="*/ 4281252 w 4288205"/>
              <a:gd name="connsiteY2" fmla="*/ 438409 h 438409"/>
              <a:gd name="connsiteX3" fmla="*/ 0 w 4288205"/>
              <a:gd name="connsiteY3" fmla="*/ 428723 h 438409"/>
              <a:gd name="connsiteX4" fmla="*/ 126569 w 4288205"/>
              <a:gd name="connsiteY4" fmla="*/ 0 h 438409"/>
              <a:gd name="connsiteX0" fmla="*/ 135995 w 4297631"/>
              <a:gd name="connsiteY0" fmla="*/ 0 h 438409"/>
              <a:gd name="connsiteX1" fmla="*/ 4297631 w 4297631"/>
              <a:gd name="connsiteY1" fmla="*/ 0 h 438409"/>
              <a:gd name="connsiteX2" fmla="*/ 4290678 w 4297631"/>
              <a:gd name="connsiteY2" fmla="*/ 438409 h 438409"/>
              <a:gd name="connsiteX3" fmla="*/ 0 w 4297631"/>
              <a:gd name="connsiteY3" fmla="*/ 438150 h 438409"/>
              <a:gd name="connsiteX4" fmla="*/ 135995 w 4297631"/>
              <a:gd name="connsiteY4" fmla="*/ 0 h 438409"/>
              <a:gd name="connsiteX0" fmla="*/ 135995 w 4309531"/>
              <a:gd name="connsiteY0" fmla="*/ 0 h 438150"/>
              <a:gd name="connsiteX1" fmla="*/ 4297631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16484"/>
              <a:gd name="connsiteY0" fmla="*/ 0 h 438150"/>
              <a:gd name="connsiteX1" fmla="*/ 4316484 w 4316484"/>
              <a:gd name="connsiteY1" fmla="*/ 0 h 438150"/>
              <a:gd name="connsiteX2" fmla="*/ 4309531 w 4316484"/>
              <a:gd name="connsiteY2" fmla="*/ 428983 h 438150"/>
              <a:gd name="connsiteX3" fmla="*/ 0 w 4316484"/>
              <a:gd name="connsiteY3" fmla="*/ 438150 h 438150"/>
              <a:gd name="connsiteX4" fmla="*/ 135995 w 4316484"/>
              <a:gd name="connsiteY4" fmla="*/ 0 h 438150"/>
              <a:gd name="connsiteX0" fmla="*/ 135995 w 4309531"/>
              <a:gd name="connsiteY0" fmla="*/ 0 h 438150"/>
              <a:gd name="connsiteX1" fmla="*/ 4307057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09531"/>
              <a:gd name="connsiteY0" fmla="*/ 0 h 438150"/>
              <a:gd name="connsiteX1" fmla="*/ 4307057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07057"/>
              <a:gd name="connsiteY0" fmla="*/ 0 h 438410"/>
              <a:gd name="connsiteX1" fmla="*/ 4307057 w 4307057"/>
              <a:gd name="connsiteY1" fmla="*/ 0 h 438410"/>
              <a:gd name="connsiteX2" fmla="*/ 4300104 w 4307057"/>
              <a:gd name="connsiteY2" fmla="*/ 438410 h 438410"/>
              <a:gd name="connsiteX3" fmla="*/ 0 w 4307057"/>
              <a:gd name="connsiteY3" fmla="*/ 438150 h 438410"/>
              <a:gd name="connsiteX4" fmla="*/ 135995 w 4307057"/>
              <a:gd name="connsiteY4" fmla="*/ 0 h 438410"/>
              <a:gd name="connsiteX0" fmla="*/ 135995 w 4300104"/>
              <a:gd name="connsiteY0" fmla="*/ 0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135995 w 4300104"/>
              <a:gd name="connsiteY4" fmla="*/ 0 h 438410"/>
              <a:gd name="connsiteX0" fmla="*/ 88861 w 4300104"/>
              <a:gd name="connsiteY0" fmla="*/ 9427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88861 w 4300104"/>
              <a:gd name="connsiteY4" fmla="*/ 9427 h 438410"/>
              <a:gd name="connsiteX0" fmla="*/ 88861 w 4300104"/>
              <a:gd name="connsiteY0" fmla="*/ 9427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88861 w 4300104"/>
              <a:gd name="connsiteY4" fmla="*/ 9427 h 438410"/>
              <a:gd name="connsiteX0" fmla="*/ 98288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98288 w 4309531"/>
              <a:gd name="connsiteY4" fmla="*/ 9427 h 438410"/>
              <a:gd name="connsiteX0" fmla="*/ 98288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98288 w 4309531"/>
              <a:gd name="connsiteY4" fmla="*/ 9427 h 438410"/>
              <a:gd name="connsiteX0" fmla="*/ 79434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9427 h 438410"/>
              <a:gd name="connsiteX0" fmla="*/ 79434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9427 h 438410"/>
              <a:gd name="connsiteX0" fmla="*/ 79434 w 4309531"/>
              <a:gd name="connsiteY0" fmla="*/ 4832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4832 h 438410"/>
              <a:gd name="connsiteX0" fmla="*/ 88624 w 4309531"/>
              <a:gd name="connsiteY0" fmla="*/ 4832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88624 w 4309531"/>
              <a:gd name="connsiteY4" fmla="*/ 4832 h 438410"/>
              <a:gd name="connsiteX0" fmla="*/ 74839 w 4309531"/>
              <a:gd name="connsiteY0" fmla="*/ 23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4839 w 4309531"/>
              <a:gd name="connsiteY4" fmla="*/ 237 h 438410"/>
              <a:gd name="connsiteX0" fmla="*/ 103120 w 4337812"/>
              <a:gd name="connsiteY0" fmla="*/ 237 h 438410"/>
              <a:gd name="connsiteX1" fmla="*/ 4335712 w 4337812"/>
              <a:gd name="connsiteY1" fmla="*/ 0 h 438410"/>
              <a:gd name="connsiteX2" fmla="*/ 4337812 w 4337812"/>
              <a:gd name="connsiteY2" fmla="*/ 438410 h 438410"/>
              <a:gd name="connsiteX3" fmla="*/ 0 w 4337812"/>
              <a:gd name="connsiteY3" fmla="*/ 428723 h 438410"/>
              <a:gd name="connsiteX4" fmla="*/ 103120 w 4337812"/>
              <a:gd name="connsiteY4" fmla="*/ 237 h 438410"/>
              <a:gd name="connsiteX0" fmla="*/ 103120 w 4337812"/>
              <a:gd name="connsiteY0" fmla="*/ 237 h 447577"/>
              <a:gd name="connsiteX1" fmla="*/ 4335712 w 4337812"/>
              <a:gd name="connsiteY1" fmla="*/ 0 h 447577"/>
              <a:gd name="connsiteX2" fmla="*/ 4337812 w 4337812"/>
              <a:gd name="connsiteY2" fmla="*/ 438410 h 447577"/>
              <a:gd name="connsiteX3" fmla="*/ 0 w 4337812"/>
              <a:gd name="connsiteY3" fmla="*/ 447577 h 447577"/>
              <a:gd name="connsiteX4" fmla="*/ 103120 w 4337812"/>
              <a:gd name="connsiteY4" fmla="*/ 237 h 447577"/>
              <a:gd name="connsiteX0" fmla="*/ 103120 w 4337812"/>
              <a:gd name="connsiteY0" fmla="*/ 237 h 447577"/>
              <a:gd name="connsiteX1" fmla="*/ 4335712 w 4337812"/>
              <a:gd name="connsiteY1" fmla="*/ 0 h 447577"/>
              <a:gd name="connsiteX2" fmla="*/ 4337812 w 4337812"/>
              <a:gd name="connsiteY2" fmla="*/ 438410 h 447577"/>
              <a:gd name="connsiteX3" fmla="*/ 0 w 4337812"/>
              <a:gd name="connsiteY3" fmla="*/ 447577 h 447577"/>
              <a:gd name="connsiteX4" fmla="*/ 103120 w 4337812"/>
              <a:gd name="connsiteY4" fmla="*/ 237 h 447577"/>
              <a:gd name="connsiteX0" fmla="*/ 103120 w 4337812"/>
              <a:gd name="connsiteY0" fmla="*/ 237 h 438410"/>
              <a:gd name="connsiteX1" fmla="*/ 4335712 w 4337812"/>
              <a:gd name="connsiteY1" fmla="*/ 0 h 438410"/>
              <a:gd name="connsiteX2" fmla="*/ 4337812 w 4337812"/>
              <a:gd name="connsiteY2" fmla="*/ 438410 h 438410"/>
              <a:gd name="connsiteX3" fmla="*/ 0 w 4337812"/>
              <a:gd name="connsiteY3" fmla="*/ 438150 h 438410"/>
              <a:gd name="connsiteX4" fmla="*/ 103120 w 4337812"/>
              <a:gd name="connsiteY4" fmla="*/ 237 h 438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37812" h="438410">
                <a:moveTo>
                  <a:pt x="103120" y="237"/>
                </a:moveTo>
                <a:lnTo>
                  <a:pt x="4335712" y="0"/>
                </a:lnTo>
                <a:cubicBezTo>
                  <a:pt x="4335712" y="146050"/>
                  <a:pt x="4337812" y="292360"/>
                  <a:pt x="4337812" y="438410"/>
                </a:cubicBezTo>
                <a:lnTo>
                  <a:pt x="0" y="438150"/>
                </a:lnTo>
                <a:lnTo>
                  <a:pt x="103120" y="237"/>
                </a:lnTo>
                <a:close/>
              </a:path>
            </a:pathLst>
          </a:custGeom>
          <a:solidFill>
            <a:srgbClr val="3D49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chemeClr val="bg1"/>
                </a:solidFill>
                <a:latin typeface="PT Sans Narrow" panose="020B0604020202020204" charset="-52"/>
              </a:rPr>
              <a:t>CONTAINER CARGO MARKET TENDENCIES </a:t>
            </a:r>
            <a:endParaRPr lang="ru-RU" sz="1600" b="1" dirty="0">
              <a:solidFill>
                <a:schemeClr val="bg1"/>
              </a:solidFill>
              <a:latin typeface="PT Sans Narrow" panose="020B0604020202020204" charset="-52"/>
            </a:endParaRPr>
          </a:p>
        </p:txBody>
      </p:sp>
      <p:sp>
        <p:nvSpPr>
          <p:cNvPr id="12" name="Полилиния 11"/>
          <p:cNvSpPr/>
          <p:nvPr/>
        </p:nvSpPr>
        <p:spPr>
          <a:xfrm>
            <a:off x="659" y="331336"/>
            <a:ext cx="695325" cy="2776047"/>
          </a:xfrm>
          <a:custGeom>
            <a:avLst/>
            <a:gdLst>
              <a:gd name="connsiteX0" fmla="*/ 0 w 657225"/>
              <a:gd name="connsiteY0" fmla="*/ 0 h 2162175"/>
              <a:gd name="connsiteX1" fmla="*/ 657225 w 657225"/>
              <a:gd name="connsiteY1" fmla="*/ 9525 h 2162175"/>
              <a:gd name="connsiteX2" fmla="*/ 19050 w 657225"/>
              <a:gd name="connsiteY2" fmla="*/ 2162175 h 2162175"/>
              <a:gd name="connsiteX3" fmla="*/ 0 w 657225"/>
              <a:gd name="connsiteY3" fmla="*/ 0 h 2162175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52992"/>
              <a:gd name="connsiteX1" fmla="*/ 657225 w 657225"/>
              <a:gd name="connsiteY1" fmla="*/ 9525 h 2152992"/>
              <a:gd name="connsiteX2" fmla="*/ 0 w 657225"/>
              <a:gd name="connsiteY2" fmla="*/ 2152992 h 2152992"/>
              <a:gd name="connsiteX3" fmla="*/ 0 w 657225"/>
              <a:gd name="connsiteY3" fmla="*/ 0 h 2152992"/>
              <a:gd name="connsiteX0" fmla="*/ 0 w 657225"/>
              <a:gd name="connsiteY0" fmla="*/ 17738 h 2170730"/>
              <a:gd name="connsiteX1" fmla="*/ 657225 w 657225"/>
              <a:gd name="connsiteY1" fmla="*/ 0 h 2170730"/>
              <a:gd name="connsiteX2" fmla="*/ 0 w 657225"/>
              <a:gd name="connsiteY2" fmla="*/ 2170730 h 2170730"/>
              <a:gd name="connsiteX3" fmla="*/ 0 w 657225"/>
              <a:gd name="connsiteY3" fmla="*/ 17738 h 2170730"/>
              <a:gd name="connsiteX0" fmla="*/ 0 w 657225"/>
              <a:gd name="connsiteY0" fmla="*/ 0 h 2171168"/>
              <a:gd name="connsiteX1" fmla="*/ 657225 w 657225"/>
              <a:gd name="connsiteY1" fmla="*/ 438 h 2171168"/>
              <a:gd name="connsiteX2" fmla="*/ 0 w 657225"/>
              <a:gd name="connsiteY2" fmla="*/ 2171168 h 2171168"/>
              <a:gd name="connsiteX3" fmla="*/ 0 w 657225"/>
              <a:gd name="connsiteY3" fmla="*/ 0 h 2171168"/>
              <a:gd name="connsiteX0" fmla="*/ 0 w 695325"/>
              <a:gd name="connsiteY0" fmla="*/ 0 h 2171168"/>
              <a:gd name="connsiteX1" fmla="*/ 695325 w 695325"/>
              <a:gd name="connsiteY1" fmla="*/ 438 h 2171168"/>
              <a:gd name="connsiteX2" fmla="*/ 0 w 695325"/>
              <a:gd name="connsiteY2" fmla="*/ 2171168 h 2171168"/>
              <a:gd name="connsiteX3" fmla="*/ 0 w 695325"/>
              <a:gd name="connsiteY3" fmla="*/ 0 h 2171168"/>
              <a:gd name="connsiteX0" fmla="*/ 9525 w 704850"/>
              <a:gd name="connsiteY0" fmla="*/ 0 h 2676201"/>
              <a:gd name="connsiteX1" fmla="*/ 704850 w 704850"/>
              <a:gd name="connsiteY1" fmla="*/ 438 h 2676201"/>
              <a:gd name="connsiteX2" fmla="*/ 0 w 704850"/>
              <a:gd name="connsiteY2" fmla="*/ 2676201 h 2676201"/>
              <a:gd name="connsiteX3" fmla="*/ 9525 w 704850"/>
              <a:gd name="connsiteY3" fmla="*/ 0 h 2676201"/>
              <a:gd name="connsiteX0" fmla="*/ 0 w 695325"/>
              <a:gd name="connsiteY0" fmla="*/ 0 h 2667019"/>
              <a:gd name="connsiteX1" fmla="*/ 695325 w 695325"/>
              <a:gd name="connsiteY1" fmla="*/ 438 h 2667019"/>
              <a:gd name="connsiteX2" fmla="*/ 9525 w 695325"/>
              <a:gd name="connsiteY2" fmla="*/ 2667019 h 2667019"/>
              <a:gd name="connsiteX3" fmla="*/ 0 w 695325"/>
              <a:gd name="connsiteY3" fmla="*/ 0 h 2667019"/>
              <a:gd name="connsiteX0" fmla="*/ 0 w 695325"/>
              <a:gd name="connsiteY0" fmla="*/ 0 h 2667019"/>
              <a:gd name="connsiteX1" fmla="*/ 695325 w 695325"/>
              <a:gd name="connsiteY1" fmla="*/ 438 h 2667019"/>
              <a:gd name="connsiteX2" fmla="*/ 9525 w 695325"/>
              <a:gd name="connsiteY2" fmla="*/ 2667019 h 2667019"/>
              <a:gd name="connsiteX3" fmla="*/ 0 w 695325"/>
              <a:gd name="connsiteY3" fmla="*/ 0 h 2667019"/>
              <a:gd name="connsiteX0" fmla="*/ 0 w 695325"/>
              <a:gd name="connsiteY0" fmla="*/ 0 h 2676201"/>
              <a:gd name="connsiteX1" fmla="*/ 695325 w 695325"/>
              <a:gd name="connsiteY1" fmla="*/ 438 h 2676201"/>
              <a:gd name="connsiteX2" fmla="*/ 0 w 695325"/>
              <a:gd name="connsiteY2" fmla="*/ 2676201 h 2676201"/>
              <a:gd name="connsiteX3" fmla="*/ 0 w 695325"/>
              <a:gd name="connsiteY3" fmla="*/ 0 h 2676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325" h="2676201">
                <a:moveTo>
                  <a:pt x="0" y="0"/>
                </a:moveTo>
                <a:lnTo>
                  <a:pt x="695325" y="438"/>
                </a:lnTo>
                <a:lnTo>
                  <a:pt x="0" y="2676201"/>
                </a:lnTo>
                <a:lnTo>
                  <a:pt x="0" y="0"/>
                </a:lnTo>
                <a:close/>
              </a:path>
            </a:pathLst>
          </a:custGeom>
          <a:solidFill>
            <a:srgbClr val="9829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Полилиния 12"/>
          <p:cNvSpPr/>
          <p:nvPr/>
        </p:nvSpPr>
        <p:spPr>
          <a:xfrm>
            <a:off x="0" y="0"/>
            <a:ext cx="428625" cy="1743075"/>
          </a:xfrm>
          <a:custGeom>
            <a:avLst/>
            <a:gdLst>
              <a:gd name="connsiteX0" fmla="*/ 0 w 447675"/>
              <a:gd name="connsiteY0" fmla="*/ 0 h 1447800"/>
              <a:gd name="connsiteX1" fmla="*/ 447675 w 447675"/>
              <a:gd name="connsiteY1" fmla="*/ 0 h 1447800"/>
              <a:gd name="connsiteX2" fmla="*/ 19050 w 447675"/>
              <a:gd name="connsiteY2" fmla="*/ 1447800 h 1447800"/>
              <a:gd name="connsiteX3" fmla="*/ 0 w 447675"/>
              <a:gd name="connsiteY3" fmla="*/ 0 h 1447800"/>
              <a:gd name="connsiteX0" fmla="*/ 0 w 447675"/>
              <a:gd name="connsiteY0" fmla="*/ 0 h 1476375"/>
              <a:gd name="connsiteX1" fmla="*/ 447675 w 447675"/>
              <a:gd name="connsiteY1" fmla="*/ 0 h 1476375"/>
              <a:gd name="connsiteX2" fmla="*/ 9525 w 447675"/>
              <a:gd name="connsiteY2" fmla="*/ 1476375 h 1476375"/>
              <a:gd name="connsiteX3" fmla="*/ 0 w 447675"/>
              <a:gd name="connsiteY3" fmla="*/ 0 h 1476375"/>
              <a:gd name="connsiteX0" fmla="*/ 0 w 438150"/>
              <a:gd name="connsiteY0" fmla="*/ 28575 h 1476375"/>
              <a:gd name="connsiteX1" fmla="*/ 438150 w 438150"/>
              <a:gd name="connsiteY1" fmla="*/ 0 h 1476375"/>
              <a:gd name="connsiteX2" fmla="*/ 0 w 438150"/>
              <a:gd name="connsiteY2" fmla="*/ 1476375 h 1476375"/>
              <a:gd name="connsiteX3" fmla="*/ 0 w 438150"/>
              <a:gd name="connsiteY3" fmla="*/ 28575 h 1476375"/>
              <a:gd name="connsiteX0" fmla="*/ 9525 w 438150"/>
              <a:gd name="connsiteY0" fmla="*/ 9525 h 1476375"/>
              <a:gd name="connsiteX1" fmla="*/ 438150 w 438150"/>
              <a:gd name="connsiteY1" fmla="*/ 0 h 1476375"/>
              <a:gd name="connsiteX2" fmla="*/ 0 w 438150"/>
              <a:gd name="connsiteY2" fmla="*/ 1476375 h 1476375"/>
              <a:gd name="connsiteX3" fmla="*/ 9525 w 438150"/>
              <a:gd name="connsiteY3" fmla="*/ 9525 h 1476375"/>
              <a:gd name="connsiteX0" fmla="*/ 0 w 428625"/>
              <a:gd name="connsiteY0" fmla="*/ 9525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0 w 428625"/>
              <a:gd name="connsiteY3" fmla="*/ 9525 h 1504950"/>
              <a:gd name="connsiteX0" fmla="*/ 19050 w 428625"/>
              <a:gd name="connsiteY0" fmla="*/ 0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19050 w 428625"/>
              <a:gd name="connsiteY3" fmla="*/ 0 h 1504950"/>
              <a:gd name="connsiteX0" fmla="*/ 0 w 428625"/>
              <a:gd name="connsiteY0" fmla="*/ 0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0 w 428625"/>
              <a:gd name="connsiteY3" fmla="*/ 0 h 1504950"/>
              <a:gd name="connsiteX0" fmla="*/ 0 w 428625"/>
              <a:gd name="connsiteY0" fmla="*/ 0 h 1581150"/>
              <a:gd name="connsiteX1" fmla="*/ 428625 w 428625"/>
              <a:gd name="connsiteY1" fmla="*/ 0 h 1581150"/>
              <a:gd name="connsiteX2" fmla="*/ 0 w 428625"/>
              <a:gd name="connsiteY2" fmla="*/ 1581150 h 1581150"/>
              <a:gd name="connsiteX3" fmla="*/ 0 w 428625"/>
              <a:gd name="connsiteY3" fmla="*/ 0 h 1581150"/>
              <a:gd name="connsiteX0" fmla="*/ 0 w 428625"/>
              <a:gd name="connsiteY0" fmla="*/ 0 h 1743075"/>
              <a:gd name="connsiteX1" fmla="*/ 428625 w 428625"/>
              <a:gd name="connsiteY1" fmla="*/ 0 h 1743075"/>
              <a:gd name="connsiteX2" fmla="*/ 0 w 428625"/>
              <a:gd name="connsiteY2" fmla="*/ 1743075 h 1743075"/>
              <a:gd name="connsiteX3" fmla="*/ 0 w 428625"/>
              <a:gd name="connsiteY3" fmla="*/ 0 h 1743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8625" h="1743075">
                <a:moveTo>
                  <a:pt x="0" y="0"/>
                </a:moveTo>
                <a:lnTo>
                  <a:pt x="428625" y="0"/>
                </a:lnTo>
                <a:lnTo>
                  <a:pt x="0" y="1743075"/>
                </a:lnTo>
                <a:lnTo>
                  <a:pt x="0" y="0"/>
                </a:lnTo>
                <a:close/>
              </a:path>
            </a:pathLst>
          </a:custGeom>
          <a:solidFill>
            <a:srgbClr val="6E6B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22" name="Диаграмма 21">
            <a:extLst>
              <a:ext uri="{FF2B5EF4-FFF2-40B4-BE49-F238E27FC236}">
                <a16:creationId xmlns:a16="http://schemas.microsoft.com/office/drawing/2014/main" id="{2A812191-3E5F-4A19-BAD3-C907855E358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43725305"/>
              </p:ext>
            </p:extLst>
          </p:nvPr>
        </p:nvGraphicFramePr>
        <p:xfrm>
          <a:off x="668865" y="4230107"/>
          <a:ext cx="4097805" cy="2106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Текст 11">
            <a:extLst>
              <a:ext uri="{FF2B5EF4-FFF2-40B4-BE49-F238E27FC236}">
                <a16:creationId xmlns:a16="http://schemas.microsoft.com/office/drawing/2014/main" id="{25793E9F-2AD8-4788-8486-21E90579878A}"/>
              </a:ext>
            </a:extLst>
          </p:cNvPr>
          <p:cNvSpPr txBox="1">
            <a:spLocks/>
          </p:cNvSpPr>
          <p:nvPr/>
        </p:nvSpPr>
        <p:spPr>
          <a:xfrm>
            <a:off x="645865" y="2088604"/>
            <a:ext cx="9579270" cy="1305995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 anchorCtr="0">
            <a:noAutofit/>
          </a:bodyPr>
          <a:lstStyle>
            <a:lvl1pPr>
              <a:spcBef>
                <a:spcPct val="0"/>
              </a:spcBef>
              <a:buNone/>
              <a:defRPr sz="2400" b="1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  <a:ea typeface="+mj-ea"/>
                <a:cs typeface="+mj-cs"/>
              </a:defRPr>
            </a:lvl1pPr>
          </a:lstStyle>
          <a:p>
            <a:r>
              <a:rPr lang="en-US" dirty="0"/>
              <a:t>The Russian container market will grow </a:t>
            </a:r>
            <a:r>
              <a:rPr lang="ru-RU" dirty="0"/>
              <a:t>5,8% </a:t>
            </a:r>
            <a:r>
              <a:rPr lang="en-US" dirty="0"/>
              <a:t>per year in average</a:t>
            </a:r>
            <a:r>
              <a:rPr lang="ru-RU" dirty="0"/>
              <a:t> </a:t>
            </a:r>
            <a:r>
              <a:rPr lang="en-US" dirty="0"/>
              <a:t>from 2018 to 2023</a:t>
            </a:r>
          </a:p>
          <a:p>
            <a:r>
              <a:rPr lang="en-US" dirty="0"/>
              <a:t>The Moscow transport knot in separate is expected to grow 5,2% per year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803" r="3066"/>
          <a:stretch/>
        </p:blipFill>
        <p:spPr>
          <a:xfrm>
            <a:off x="4941960" y="4010596"/>
            <a:ext cx="5481465" cy="2605418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F552A85-D517-45C5-AD67-6F9BD5EB50D2}"/>
              </a:ext>
            </a:extLst>
          </p:cNvPr>
          <p:cNvSpPr txBox="1"/>
          <p:nvPr/>
        </p:nvSpPr>
        <p:spPr>
          <a:xfrm>
            <a:off x="5110361" y="3497301"/>
            <a:ext cx="36414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PT Sans Narrow" panose="020B0506020203020204" pitchFamily="34" charset="-52"/>
                <a:cs typeface="Calibri" panose="020F0502020204030204" pitchFamily="34" charset="0"/>
              </a:rPr>
              <a:t>Container handling volume at MTU,</a:t>
            </a:r>
          </a:p>
          <a:p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PT Sans Narrow" panose="020B0506020203020204" pitchFamily="34" charset="-52"/>
                <a:cs typeface="Calibri" panose="020F0502020204030204" pitchFamily="34" charset="0"/>
              </a:rPr>
              <a:t>thsd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PT Sans Narrow" panose="020B0506020203020204" pitchFamily="34" charset="-52"/>
                <a:cs typeface="Calibri" panose="020F0502020204030204" pitchFamily="34" charset="0"/>
              </a:rPr>
              <a:t> TEU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F552A85-D517-45C5-AD67-6F9BD5EB50D2}"/>
              </a:ext>
            </a:extLst>
          </p:cNvPr>
          <p:cNvSpPr txBox="1"/>
          <p:nvPr/>
        </p:nvSpPr>
        <p:spPr>
          <a:xfrm>
            <a:off x="8751794" y="4218747"/>
            <a:ext cx="1473341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PT Sans Narrow" panose="020B0506020203020204" pitchFamily="34" charset="-52"/>
                <a:cs typeface="Calibri" panose="020F0502020204030204" pitchFamily="34" charset="0"/>
              </a:rPr>
              <a:t>Volume of container-offloading</a:t>
            </a:r>
            <a:r>
              <a:rPr lang="ru-RU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PT Sans Narrow" panose="020B0506020203020204" pitchFamily="34" charset="-52"/>
                <a:cs typeface="Calibri" panose="020F0502020204030204" pitchFamily="34" charset="0"/>
              </a:rPr>
              <a:t> </a:t>
            </a:r>
            <a:r>
              <a:rPr 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PT Sans Narrow" panose="020B0506020203020204" pitchFamily="34" charset="-52"/>
                <a:cs typeface="Calibri" panose="020F0502020204030204" pitchFamily="34" charset="0"/>
              </a:rPr>
              <a:t>at MTU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F552A85-D517-45C5-AD67-6F9BD5EB50D2}"/>
              </a:ext>
            </a:extLst>
          </p:cNvPr>
          <p:cNvSpPr txBox="1"/>
          <p:nvPr/>
        </p:nvSpPr>
        <p:spPr>
          <a:xfrm>
            <a:off x="8751794" y="4655507"/>
            <a:ext cx="1473341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PT Sans Narrow" panose="020B0506020203020204" pitchFamily="34" charset="-52"/>
                <a:cs typeface="Calibri" panose="020F0502020204030204" pitchFamily="34" charset="0"/>
              </a:rPr>
              <a:t>Volume of container-offloading</a:t>
            </a:r>
            <a:r>
              <a:rPr lang="ru-RU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PT Sans Narrow" panose="020B0506020203020204" pitchFamily="34" charset="-52"/>
                <a:cs typeface="Calibri" panose="020F0502020204030204" pitchFamily="34" charset="0"/>
              </a:rPr>
              <a:t> </a:t>
            </a:r>
            <a:r>
              <a:rPr 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PT Sans Narrow" panose="020B0506020203020204" pitchFamily="34" charset="-52"/>
                <a:cs typeface="Calibri" panose="020F0502020204030204" pitchFamily="34" charset="0"/>
              </a:rPr>
              <a:t>at FV Vorsino</a:t>
            </a:r>
          </a:p>
        </p:txBody>
      </p:sp>
      <p:cxnSp>
        <p:nvCxnSpPr>
          <p:cNvPr id="19" name="Straight Connector 11"/>
          <p:cNvCxnSpPr/>
          <p:nvPr>
            <p:custDataLst>
              <p:tags r:id="rId1"/>
            </p:custDataLst>
          </p:nvPr>
        </p:nvCxnSpPr>
        <p:spPr bwMode="auto">
          <a:xfrm flipV="1">
            <a:off x="5251545" y="4000737"/>
            <a:ext cx="2883152" cy="726993"/>
          </a:xfrm>
          <a:prstGeom prst="line">
            <a:avLst/>
          </a:prstGeom>
          <a:ln w="22225">
            <a:solidFill>
              <a:srgbClr val="4572A7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2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 rot="20823102">
            <a:off x="6235432" y="4232336"/>
            <a:ext cx="876541" cy="248642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2">
                <a:lumMod val="50000"/>
              </a:schemeClr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marR="0" indent="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34950" marR="0" indent="-2286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468000" marR="0" indent="-2304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694800" marR="0" indent="-2304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914400" marR="0" indent="-2286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34000" indent="-2304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GB" sz="20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68000" indent="-2286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lang="en-GB" sz="20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94800" indent="-2286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  <a:defRPr lang="en-GB" sz="20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en-GB" sz="2000" b="1" kern="1200" baseline="0" noProof="0" dirty="0" smtClean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000" b="1" dirty="0">
                <a:solidFill>
                  <a:schemeClr val="tx2">
                    <a:lumMod val="50000"/>
                  </a:schemeClr>
                </a:solidFill>
                <a:latin typeface="+mn-lt"/>
                <a:sym typeface="+mn-lt"/>
              </a:rPr>
              <a:t>CAGR </a:t>
            </a:r>
            <a:r>
              <a:rPr lang="ru-RU" altLang="en-US" sz="1200" b="1" dirty="0">
                <a:solidFill>
                  <a:srgbClr val="962921"/>
                </a:solidFill>
                <a:latin typeface="+mj-lt"/>
                <a:cs typeface="Arial" pitchFamily="34" charset="0"/>
                <a:sym typeface="+mn-lt"/>
              </a:rPr>
              <a:t>+5,2%</a:t>
            </a:r>
            <a:endParaRPr lang="en-GB" sz="1200" b="1" dirty="0">
              <a:solidFill>
                <a:srgbClr val="962921"/>
              </a:solidFill>
              <a:latin typeface="+mj-lt"/>
              <a:cs typeface="Arial" pitchFamily="34" charset="0"/>
              <a:sym typeface="+mn-lt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63284" y="3511371"/>
            <a:ext cx="55245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PT Sans Narrow" panose="020B0506020203020204" pitchFamily="34" charset="-52"/>
                <a:cs typeface="Calibri" panose="020F0502020204030204" pitchFamily="34" charset="0"/>
              </a:rPr>
              <a:t>Volume of rail container transportation in Russia,</a:t>
            </a:r>
          </a:p>
          <a:p>
            <a:r>
              <a:rPr lang="en-US" sz="14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PT Sans Narrow" panose="020B0506020203020204" pitchFamily="34" charset="-52"/>
                <a:cs typeface="Calibri" panose="020F0502020204030204" pitchFamily="34" charset="0"/>
              </a:rPr>
              <a:t>mln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PT Sans Narrow" panose="020B0506020203020204" pitchFamily="34" charset="-52"/>
                <a:cs typeface="Calibri" panose="020F0502020204030204" pitchFamily="34" charset="0"/>
              </a:rPr>
              <a:t> TEUs</a:t>
            </a:r>
          </a:p>
        </p:txBody>
      </p:sp>
      <p:cxnSp>
        <p:nvCxnSpPr>
          <p:cNvPr id="21" name="Straight Connector 11"/>
          <p:cNvCxnSpPr/>
          <p:nvPr>
            <p:custDataLst>
              <p:tags r:id="rId3"/>
            </p:custDataLst>
          </p:nvPr>
        </p:nvCxnSpPr>
        <p:spPr bwMode="auto">
          <a:xfrm flipV="1">
            <a:off x="982622" y="4137293"/>
            <a:ext cx="3407659" cy="481565"/>
          </a:xfrm>
          <a:prstGeom prst="line">
            <a:avLst/>
          </a:prstGeom>
          <a:ln w="22225">
            <a:solidFill>
              <a:srgbClr val="982920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 rot="21193600">
            <a:off x="2214961" y="4232335"/>
            <a:ext cx="876541" cy="248642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2">
                <a:lumMod val="50000"/>
              </a:schemeClr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marR="0" indent="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34950" marR="0" indent="-2286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468000" marR="0" indent="-2304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694800" marR="0" indent="-2304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914400" marR="0" indent="-2286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34000" indent="-2304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GB" sz="20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68000" indent="-2286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lang="en-GB" sz="20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94800" indent="-2286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  <a:defRPr lang="en-GB" sz="20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en-GB" sz="2000" b="1" kern="1200" baseline="0" noProof="0" dirty="0" smtClean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000" b="1" dirty="0">
                <a:solidFill>
                  <a:schemeClr val="tx2">
                    <a:lumMod val="50000"/>
                  </a:schemeClr>
                </a:solidFill>
                <a:latin typeface="+mn-lt"/>
                <a:sym typeface="+mn-lt"/>
              </a:rPr>
              <a:t>CAGR </a:t>
            </a:r>
            <a:r>
              <a:rPr lang="ru-RU" altLang="en-US" sz="1200" b="1" dirty="0">
                <a:solidFill>
                  <a:srgbClr val="962921"/>
                </a:solidFill>
                <a:latin typeface="+mj-lt"/>
                <a:cs typeface="Arial" pitchFamily="34" charset="0"/>
                <a:sym typeface="+mn-lt"/>
              </a:rPr>
              <a:t>+5,</a:t>
            </a:r>
            <a:r>
              <a:rPr lang="en-US" altLang="en-US" sz="1200" b="1" dirty="0">
                <a:solidFill>
                  <a:srgbClr val="962921"/>
                </a:solidFill>
                <a:latin typeface="+mj-lt"/>
                <a:cs typeface="Arial" pitchFamily="34" charset="0"/>
                <a:sym typeface="+mn-lt"/>
              </a:rPr>
              <a:t>8</a:t>
            </a:r>
            <a:r>
              <a:rPr lang="ru-RU" altLang="en-US" sz="1200" b="1" dirty="0">
                <a:solidFill>
                  <a:srgbClr val="962921"/>
                </a:solidFill>
                <a:latin typeface="+mj-lt"/>
                <a:cs typeface="Arial" pitchFamily="34" charset="0"/>
                <a:sym typeface="+mn-lt"/>
              </a:rPr>
              <a:t>%</a:t>
            </a:r>
            <a:endParaRPr lang="en-GB" sz="1200" b="1" dirty="0">
              <a:solidFill>
                <a:srgbClr val="962921"/>
              </a:solidFill>
              <a:latin typeface="+mj-lt"/>
              <a:cs typeface="Arial" pitchFamily="34" charset="0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6765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03274"/>
            <a:ext cx="11053763" cy="5841914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6</a:t>
            </a:fld>
            <a:endParaRPr lang="ru-RU"/>
          </a:p>
        </p:txBody>
      </p:sp>
      <p:sp>
        <p:nvSpPr>
          <p:cNvPr id="11" name="Полилиния 10"/>
          <p:cNvSpPr/>
          <p:nvPr/>
        </p:nvSpPr>
        <p:spPr>
          <a:xfrm>
            <a:off x="6718423" y="331336"/>
            <a:ext cx="4337812" cy="438410"/>
          </a:xfrm>
          <a:custGeom>
            <a:avLst/>
            <a:gdLst>
              <a:gd name="connsiteX0" fmla="*/ 76200 w 3352800"/>
              <a:gd name="connsiteY0" fmla="*/ 0 h 438150"/>
              <a:gd name="connsiteX1" fmla="*/ 3352800 w 3352800"/>
              <a:gd name="connsiteY1" fmla="*/ 9525 h 438150"/>
              <a:gd name="connsiteX2" fmla="*/ 3352800 w 3352800"/>
              <a:gd name="connsiteY2" fmla="*/ 438150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52800"/>
              <a:gd name="connsiteY0" fmla="*/ 0 h 438150"/>
              <a:gd name="connsiteX1" fmla="*/ 3343275 w 3352800"/>
              <a:gd name="connsiteY1" fmla="*/ 0 h 438150"/>
              <a:gd name="connsiteX2" fmla="*/ 3352800 w 3352800"/>
              <a:gd name="connsiteY2" fmla="*/ 438150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43275"/>
              <a:gd name="connsiteY0" fmla="*/ 0 h 438150"/>
              <a:gd name="connsiteX1" fmla="*/ 3343275 w 3343275"/>
              <a:gd name="connsiteY1" fmla="*/ 0 h 438150"/>
              <a:gd name="connsiteX2" fmla="*/ 3333750 w 3343275"/>
              <a:gd name="connsiteY2" fmla="*/ 438150 h 438150"/>
              <a:gd name="connsiteX3" fmla="*/ 0 w 3343275"/>
              <a:gd name="connsiteY3" fmla="*/ 438150 h 438150"/>
              <a:gd name="connsiteX4" fmla="*/ 76200 w 3343275"/>
              <a:gd name="connsiteY4" fmla="*/ 0 h 438150"/>
              <a:gd name="connsiteX0" fmla="*/ 76200 w 3352800"/>
              <a:gd name="connsiteY0" fmla="*/ 0 h 438150"/>
              <a:gd name="connsiteX1" fmla="*/ 3343275 w 3352800"/>
              <a:gd name="connsiteY1" fmla="*/ 0 h 438150"/>
              <a:gd name="connsiteX2" fmla="*/ 3352800 w 3352800"/>
              <a:gd name="connsiteY2" fmla="*/ 428625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43275"/>
              <a:gd name="connsiteY0" fmla="*/ 0 h 447675"/>
              <a:gd name="connsiteX1" fmla="*/ 3343275 w 3343275"/>
              <a:gd name="connsiteY1" fmla="*/ 0 h 447675"/>
              <a:gd name="connsiteX2" fmla="*/ 3333750 w 3343275"/>
              <a:gd name="connsiteY2" fmla="*/ 447675 h 447675"/>
              <a:gd name="connsiteX3" fmla="*/ 0 w 3343275"/>
              <a:gd name="connsiteY3" fmla="*/ 438150 h 447675"/>
              <a:gd name="connsiteX4" fmla="*/ 76200 w 3343275"/>
              <a:gd name="connsiteY4" fmla="*/ 0 h 447675"/>
              <a:gd name="connsiteX0" fmla="*/ 76200 w 3343275"/>
              <a:gd name="connsiteY0" fmla="*/ 0 h 438150"/>
              <a:gd name="connsiteX1" fmla="*/ 3343275 w 3343275"/>
              <a:gd name="connsiteY1" fmla="*/ 0 h 438150"/>
              <a:gd name="connsiteX2" fmla="*/ 3343275 w 3343275"/>
              <a:gd name="connsiteY2" fmla="*/ 438150 h 438150"/>
              <a:gd name="connsiteX3" fmla="*/ 0 w 3343275"/>
              <a:gd name="connsiteY3" fmla="*/ 438150 h 438150"/>
              <a:gd name="connsiteX4" fmla="*/ 76200 w 3343275"/>
              <a:gd name="connsiteY4" fmla="*/ 0 h 438150"/>
              <a:gd name="connsiteX0" fmla="*/ 144439 w 3411514"/>
              <a:gd name="connsiteY0" fmla="*/ 0 h 438150"/>
              <a:gd name="connsiteX1" fmla="*/ 3411514 w 3411514"/>
              <a:gd name="connsiteY1" fmla="*/ 0 h 438150"/>
              <a:gd name="connsiteX2" fmla="*/ 3411514 w 3411514"/>
              <a:gd name="connsiteY2" fmla="*/ 438150 h 438150"/>
              <a:gd name="connsiteX3" fmla="*/ 0 w 3411514"/>
              <a:gd name="connsiteY3" fmla="*/ 438150 h 438150"/>
              <a:gd name="connsiteX4" fmla="*/ 144439 w 3411514"/>
              <a:gd name="connsiteY4" fmla="*/ 0 h 438150"/>
              <a:gd name="connsiteX0" fmla="*/ 117143 w 3384218"/>
              <a:gd name="connsiteY0" fmla="*/ 0 h 438150"/>
              <a:gd name="connsiteX1" fmla="*/ 3384218 w 3384218"/>
              <a:gd name="connsiteY1" fmla="*/ 0 h 438150"/>
              <a:gd name="connsiteX2" fmla="*/ 3384218 w 3384218"/>
              <a:gd name="connsiteY2" fmla="*/ 438150 h 438150"/>
              <a:gd name="connsiteX3" fmla="*/ 0 w 3384218"/>
              <a:gd name="connsiteY3" fmla="*/ 438150 h 438150"/>
              <a:gd name="connsiteX4" fmla="*/ 117143 w 3384218"/>
              <a:gd name="connsiteY4" fmla="*/ 0 h 438150"/>
              <a:gd name="connsiteX0" fmla="*/ 117143 w 4325913"/>
              <a:gd name="connsiteY0" fmla="*/ 0 h 438150"/>
              <a:gd name="connsiteX1" fmla="*/ 4325913 w 4325913"/>
              <a:gd name="connsiteY1" fmla="*/ 0 h 438150"/>
              <a:gd name="connsiteX2" fmla="*/ 3384218 w 4325913"/>
              <a:gd name="connsiteY2" fmla="*/ 438150 h 438150"/>
              <a:gd name="connsiteX3" fmla="*/ 0 w 4325913"/>
              <a:gd name="connsiteY3" fmla="*/ 438150 h 438150"/>
              <a:gd name="connsiteX4" fmla="*/ 117143 w 4325913"/>
              <a:gd name="connsiteY4" fmla="*/ 0 h 438150"/>
              <a:gd name="connsiteX0" fmla="*/ 117143 w 4325913"/>
              <a:gd name="connsiteY0" fmla="*/ 0 h 451798"/>
              <a:gd name="connsiteX1" fmla="*/ 4325913 w 4325913"/>
              <a:gd name="connsiteY1" fmla="*/ 0 h 451798"/>
              <a:gd name="connsiteX2" fmla="*/ 4312266 w 4325913"/>
              <a:gd name="connsiteY2" fmla="*/ 451798 h 451798"/>
              <a:gd name="connsiteX3" fmla="*/ 0 w 4325913"/>
              <a:gd name="connsiteY3" fmla="*/ 438150 h 451798"/>
              <a:gd name="connsiteX4" fmla="*/ 117143 w 4325913"/>
              <a:gd name="connsiteY4" fmla="*/ 0 h 451798"/>
              <a:gd name="connsiteX0" fmla="*/ 117143 w 4325914"/>
              <a:gd name="connsiteY0" fmla="*/ 0 h 438150"/>
              <a:gd name="connsiteX1" fmla="*/ 4325913 w 4325914"/>
              <a:gd name="connsiteY1" fmla="*/ 0 h 438150"/>
              <a:gd name="connsiteX2" fmla="*/ 4325914 w 4325914"/>
              <a:gd name="connsiteY2" fmla="*/ 438150 h 438150"/>
              <a:gd name="connsiteX3" fmla="*/ 0 w 4325914"/>
              <a:gd name="connsiteY3" fmla="*/ 438150 h 438150"/>
              <a:gd name="connsiteX4" fmla="*/ 117143 w 4325914"/>
              <a:gd name="connsiteY4" fmla="*/ 0 h 438150"/>
              <a:gd name="connsiteX0" fmla="*/ 117143 w 4339562"/>
              <a:gd name="connsiteY0" fmla="*/ 0 h 451797"/>
              <a:gd name="connsiteX1" fmla="*/ 4325913 w 4339562"/>
              <a:gd name="connsiteY1" fmla="*/ 0 h 451797"/>
              <a:gd name="connsiteX2" fmla="*/ 4339562 w 4339562"/>
              <a:gd name="connsiteY2" fmla="*/ 451797 h 451797"/>
              <a:gd name="connsiteX3" fmla="*/ 0 w 4339562"/>
              <a:gd name="connsiteY3" fmla="*/ 438150 h 451797"/>
              <a:gd name="connsiteX4" fmla="*/ 117143 w 4339562"/>
              <a:gd name="connsiteY4" fmla="*/ 0 h 451797"/>
              <a:gd name="connsiteX0" fmla="*/ 117143 w 4325913"/>
              <a:gd name="connsiteY0" fmla="*/ 0 h 451797"/>
              <a:gd name="connsiteX1" fmla="*/ 4325913 w 4325913"/>
              <a:gd name="connsiteY1" fmla="*/ 0 h 451797"/>
              <a:gd name="connsiteX2" fmla="*/ 4312266 w 4325913"/>
              <a:gd name="connsiteY2" fmla="*/ 451797 h 451797"/>
              <a:gd name="connsiteX3" fmla="*/ 0 w 4325913"/>
              <a:gd name="connsiteY3" fmla="*/ 438150 h 451797"/>
              <a:gd name="connsiteX4" fmla="*/ 117143 w 4325913"/>
              <a:gd name="connsiteY4" fmla="*/ 0 h 451797"/>
              <a:gd name="connsiteX0" fmla="*/ 117143 w 4325914"/>
              <a:gd name="connsiteY0" fmla="*/ 0 h 438150"/>
              <a:gd name="connsiteX1" fmla="*/ 4325913 w 4325914"/>
              <a:gd name="connsiteY1" fmla="*/ 0 h 438150"/>
              <a:gd name="connsiteX2" fmla="*/ 4325914 w 4325914"/>
              <a:gd name="connsiteY2" fmla="*/ 424502 h 438150"/>
              <a:gd name="connsiteX3" fmla="*/ 0 w 4325914"/>
              <a:gd name="connsiteY3" fmla="*/ 438150 h 438150"/>
              <a:gd name="connsiteX4" fmla="*/ 117143 w 4325914"/>
              <a:gd name="connsiteY4" fmla="*/ 0 h 438150"/>
              <a:gd name="connsiteX0" fmla="*/ 117143 w 4325913"/>
              <a:gd name="connsiteY0" fmla="*/ 0 h 438409"/>
              <a:gd name="connsiteX1" fmla="*/ 4325913 w 4325913"/>
              <a:gd name="connsiteY1" fmla="*/ 0 h 438409"/>
              <a:gd name="connsiteX2" fmla="*/ 4318960 w 4325913"/>
              <a:gd name="connsiteY2" fmla="*/ 438409 h 438409"/>
              <a:gd name="connsiteX3" fmla="*/ 0 w 4325913"/>
              <a:gd name="connsiteY3" fmla="*/ 438150 h 438409"/>
              <a:gd name="connsiteX4" fmla="*/ 117143 w 4325913"/>
              <a:gd name="connsiteY4" fmla="*/ 0 h 438409"/>
              <a:gd name="connsiteX0" fmla="*/ 154850 w 4325913"/>
              <a:gd name="connsiteY0" fmla="*/ 9427 h 438409"/>
              <a:gd name="connsiteX1" fmla="*/ 4325913 w 4325913"/>
              <a:gd name="connsiteY1" fmla="*/ 0 h 438409"/>
              <a:gd name="connsiteX2" fmla="*/ 4318960 w 4325913"/>
              <a:gd name="connsiteY2" fmla="*/ 438409 h 438409"/>
              <a:gd name="connsiteX3" fmla="*/ 0 w 4325913"/>
              <a:gd name="connsiteY3" fmla="*/ 438150 h 438409"/>
              <a:gd name="connsiteX4" fmla="*/ 154850 w 4325913"/>
              <a:gd name="connsiteY4" fmla="*/ 9427 h 438409"/>
              <a:gd name="connsiteX0" fmla="*/ 117143 w 4288206"/>
              <a:gd name="connsiteY0" fmla="*/ 9427 h 438409"/>
              <a:gd name="connsiteX1" fmla="*/ 4288206 w 4288206"/>
              <a:gd name="connsiteY1" fmla="*/ 0 h 438409"/>
              <a:gd name="connsiteX2" fmla="*/ 4281253 w 4288206"/>
              <a:gd name="connsiteY2" fmla="*/ 438409 h 438409"/>
              <a:gd name="connsiteX3" fmla="*/ 0 w 4288206"/>
              <a:gd name="connsiteY3" fmla="*/ 428723 h 438409"/>
              <a:gd name="connsiteX4" fmla="*/ 117143 w 4288206"/>
              <a:gd name="connsiteY4" fmla="*/ 9427 h 438409"/>
              <a:gd name="connsiteX0" fmla="*/ 126570 w 4288206"/>
              <a:gd name="connsiteY0" fmla="*/ 0 h 438409"/>
              <a:gd name="connsiteX1" fmla="*/ 4288206 w 4288206"/>
              <a:gd name="connsiteY1" fmla="*/ 0 h 438409"/>
              <a:gd name="connsiteX2" fmla="*/ 4281253 w 4288206"/>
              <a:gd name="connsiteY2" fmla="*/ 438409 h 438409"/>
              <a:gd name="connsiteX3" fmla="*/ 0 w 4288206"/>
              <a:gd name="connsiteY3" fmla="*/ 428723 h 438409"/>
              <a:gd name="connsiteX4" fmla="*/ 126570 w 4288206"/>
              <a:gd name="connsiteY4" fmla="*/ 0 h 438409"/>
              <a:gd name="connsiteX0" fmla="*/ 107716 w 4269352"/>
              <a:gd name="connsiteY0" fmla="*/ 0 h 438409"/>
              <a:gd name="connsiteX1" fmla="*/ 4269352 w 4269352"/>
              <a:gd name="connsiteY1" fmla="*/ 0 h 438409"/>
              <a:gd name="connsiteX2" fmla="*/ 4262399 w 4269352"/>
              <a:gd name="connsiteY2" fmla="*/ 438409 h 438409"/>
              <a:gd name="connsiteX3" fmla="*/ 0 w 4269352"/>
              <a:gd name="connsiteY3" fmla="*/ 428723 h 438409"/>
              <a:gd name="connsiteX4" fmla="*/ 107716 w 4269352"/>
              <a:gd name="connsiteY4" fmla="*/ 0 h 438409"/>
              <a:gd name="connsiteX0" fmla="*/ 126569 w 4288205"/>
              <a:gd name="connsiteY0" fmla="*/ 0 h 438409"/>
              <a:gd name="connsiteX1" fmla="*/ 4288205 w 4288205"/>
              <a:gd name="connsiteY1" fmla="*/ 0 h 438409"/>
              <a:gd name="connsiteX2" fmla="*/ 4281252 w 4288205"/>
              <a:gd name="connsiteY2" fmla="*/ 438409 h 438409"/>
              <a:gd name="connsiteX3" fmla="*/ 0 w 4288205"/>
              <a:gd name="connsiteY3" fmla="*/ 428723 h 438409"/>
              <a:gd name="connsiteX4" fmla="*/ 126569 w 4288205"/>
              <a:gd name="connsiteY4" fmla="*/ 0 h 438409"/>
              <a:gd name="connsiteX0" fmla="*/ 126569 w 4288205"/>
              <a:gd name="connsiteY0" fmla="*/ 0 h 438409"/>
              <a:gd name="connsiteX1" fmla="*/ 4288205 w 4288205"/>
              <a:gd name="connsiteY1" fmla="*/ 0 h 438409"/>
              <a:gd name="connsiteX2" fmla="*/ 4281252 w 4288205"/>
              <a:gd name="connsiteY2" fmla="*/ 438409 h 438409"/>
              <a:gd name="connsiteX3" fmla="*/ 0 w 4288205"/>
              <a:gd name="connsiteY3" fmla="*/ 428723 h 438409"/>
              <a:gd name="connsiteX4" fmla="*/ 126569 w 4288205"/>
              <a:gd name="connsiteY4" fmla="*/ 0 h 438409"/>
              <a:gd name="connsiteX0" fmla="*/ 135995 w 4297631"/>
              <a:gd name="connsiteY0" fmla="*/ 0 h 438409"/>
              <a:gd name="connsiteX1" fmla="*/ 4297631 w 4297631"/>
              <a:gd name="connsiteY1" fmla="*/ 0 h 438409"/>
              <a:gd name="connsiteX2" fmla="*/ 4290678 w 4297631"/>
              <a:gd name="connsiteY2" fmla="*/ 438409 h 438409"/>
              <a:gd name="connsiteX3" fmla="*/ 0 w 4297631"/>
              <a:gd name="connsiteY3" fmla="*/ 438150 h 438409"/>
              <a:gd name="connsiteX4" fmla="*/ 135995 w 4297631"/>
              <a:gd name="connsiteY4" fmla="*/ 0 h 438409"/>
              <a:gd name="connsiteX0" fmla="*/ 135995 w 4309531"/>
              <a:gd name="connsiteY0" fmla="*/ 0 h 438150"/>
              <a:gd name="connsiteX1" fmla="*/ 4297631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16484"/>
              <a:gd name="connsiteY0" fmla="*/ 0 h 438150"/>
              <a:gd name="connsiteX1" fmla="*/ 4316484 w 4316484"/>
              <a:gd name="connsiteY1" fmla="*/ 0 h 438150"/>
              <a:gd name="connsiteX2" fmla="*/ 4309531 w 4316484"/>
              <a:gd name="connsiteY2" fmla="*/ 428983 h 438150"/>
              <a:gd name="connsiteX3" fmla="*/ 0 w 4316484"/>
              <a:gd name="connsiteY3" fmla="*/ 438150 h 438150"/>
              <a:gd name="connsiteX4" fmla="*/ 135995 w 4316484"/>
              <a:gd name="connsiteY4" fmla="*/ 0 h 438150"/>
              <a:gd name="connsiteX0" fmla="*/ 135995 w 4309531"/>
              <a:gd name="connsiteY0" fmla="*/ 0 h 438150"/>
              <a:gd name="connsiteX1" fmla="*/ 4307057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09531"/>
              <a:gd name="connsiteY0" fmla="*/ 0 h 438150"/>
              <a:gd name="connsiteX1" fmla="*/ 4307057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07057"/>
              <a:gd name="connsiteY0" fmla="*/ 0 h 438410"/>
              <a:gd name="connsiteX1" fmla="*/ 4307057 w 4307057"/>
              <a:gd name="connsiteY1" fmla="*/ 0 h 438410"/>
              <a:gd name="connsiteX2" fmla="*/ 4300104 w 4307057"/>
              <a:gd name="connsiteY2" fmla="*/ 438410 h 438410"/>
              <a:gd name="connsiteX3" fmla="*/ 0 w 4307057"/>
              <a:gd name="connsiteY3" fmla="*/ 438150 h 438410"/>
              <a:gd name="connsiteX4" fmla="*/ 135995 w 4307057"/>
              <a:gd name="connsiteY4" fmla="*/ 0 h 438410"/>
              <a:gd name="connsiteX0" fmla="*/ 135995 w 4300104"/>
              <a:gd name="connsiteY0" fmla="*/ 0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135995 w 4300104"/>
              <a:gd name="connsiteY4" fmla="*/ 0 h 438410"/>
              <a:gd name="connsiteX0" fmla="*/ 88861 w 4300104"/>
              <a:gd name="connsiteY0" fmla="*/ 9427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88861 w 4300104"/>
              <a:gd name="connsiteY4" fmla="*/ 9427 h 438410"/>
              <a:gd name="connsiteX0" fmla="*/ 88861 w 4300104"/>
              <a:gd name="connsiteY0" fmla="*/ 9427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88861 w 4300104"/>
              <a:gd name="connsiteY4" fmla="*/ 9427 h 438410"/>
              <a:gd name="connsiteX0" fmla="*/ 98288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98288 w 4309531"/>
              <a:gd name="connsiteY4" fmla="*/ 9427 h 438410"/>
              <a:gd name="connsiteX0" fmla="*/ 98288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98288 w 4309531"/>
              <a:gd name="connsiteY4" fmla="*/ 9427 h 438410"/>
              <a:gd name="connsiteX0" fmla="*/ 79434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9427 h 438410"/>
              <a:gd name="connsiteX0" fmla="*/ 79434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9427 h 438410"/>
              <a:gd name="connsiteX0" fmla="*/ 79434 w 4309531"/>
              <a:gd name="connsiteY0" fmla="*/ 4832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4832 h 438410"/>
              <a:gd name="connsiteX0" fmla="*/ 88624 w 4309531"/>
              <a:gd name="connsiteY0" fmla="*/ 4832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88624 w 4309531"/>
              <a:gd name="connsiteY4" fmla="*/ 4832 h 438410"/>
              <a:gd name="connsiteX0" fmla="*/ 74839 w 4309531"/>
              <a:gd name="connsiteY0" fmla="*/ 23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4839 w 4309531"/>
              <a:gd name="connsiteY4" fmla="*/ 237 h 438410"/>
              <a:gd name="connsiteX0" fmla="*/ 103120 w 4337812"/>
              <a:gd name="connsiteY0" fmla="*/ 237 h 438410"/>
              <a:gd name="connsiteX1" fmla="*/ 4335712 w 4337812"/>
              <a:gd name="connsiteY1" fmla="*/ 0 h 438410"/>
              <a:gd name="connsiteX2" fmla="*/ 4337812 w 4337812"/>
              <a:gd name="connsiteY2" fmla="*/ 438410 h 438410"/>
              <a:gd name="connsiteX3" fmla="*/ 0 w 4337812"/>
              <a:gd name="connsiteY3" fmla="*/ 428723 h 438410"/>
              <a:gd name="connsiteX4" fmla="*/ 103120 w 4337812"/>
              <a:gd name="connsiteY4" fmla="*/ 237 h 438410"/>
              <a:gd name="connsiteX0" fmla="*/ 103120 w 4337812"/>
              <a:gd name="connsiteY0" fmla="*/ 237 h 447577"/>
              <a:gd name="connsiteX1" fmla="*/ 4335712 w 4337812"/>
              <a:gd name="connsiteY1" fmla="*/ 0 h 447577"/>
              <a:gd name="connsiteX2" fmla="*/ 4337812 w 4337812"/>
              <a:gd name="connsiteY2" fmla="*/ 438410 h 447577"/>
              <a:gd name="connsiteX3" fmla="*/ 0 w 4337812"/>
              <a:gd name="connsiteY3" fmla="*/ 447577 h 447577"/>
              <a:gd name="connsiteX4" fmla="*/ 103120 w 4337812"/>
              <a:gd name="connsiteY4" fmla="*/ 237 h 447577"/>
              <a:gd name="connsiteX0" fmla="*/ 103120 w 4337812"/>
              <a:gd name="connsiteY0" fmla="*/ 237 h 447577"/>
              <a:gd name="connsiteX1" fmla="*/ 4335712 w 4337812"/>
              <a:gd name="connsiteY1" fmla="*/ 0 h 447577"/>
              <a:gd name="connsiteX2" fmla="*/ 4337812 w 4337812"/>
              <a:gd name="connsiteY2" fmla="*/ 438410 h 447577"/>
              <a:gd name="connsiteX3" fmla="*/ 0 w 4337812"/>
              <a:gd name="connsiteY3" fmla="*/ 447577 h 447577"/>
              <a:gd name="connsiteX4" fmla="*/ 103120 w 4337812"/>
              <a:gd name="connsiteY4" fmla="*/ 237 h 447577"/>
              <a:gd name="connsiteX0" fmla="*/ 103120 w 4337812"/>
              <a:gd name="connsiteY0" fmla="*/ 237 h 438410"/>
              <a:gd name="connsiteX1" fmla="*/ 4335712 w 4337812"/>
              <a:gd name="connsiteY1" fmla="*/ 0 h 438410"/>
              <a:gd name="connsiteX2" fmla="*/ 4337812 w 4337812"/>
              <a:gd name="connsiteY2" fmla="*/ 438410 h 438410"/>
              <a:gd name="connsiteX3" fmla="*/ 0 w 4337812"/>
              <a:gd name="connsiteY3" fmla="*/ 438150 h 438410"/>
              <a:gd name="connsiteX4" fmla="*/ 103120 w 4337812"/>
              <a:gd name="connsiteY4" fmla="*/ 237 h 438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37812" h="438410">
                <a:moveTo>
                  <a:pt x="103120" y="237"/>
                </a:moveTo>
                <a:lnTo>
                  <a:pt x="4335712" y="0"/>
                </a:lnTo>
                <a:cubicBezTo>
                  <a:pt x="4335712" y="146050"/>
                  <a:pt x="4337812" y="292360"/>
                  <a:pt x="4337812" y="438410"/>
                </a:cubicBezTo>
                <a:lnTo>
                  <a:pt x="0" y="438150"/>
                </a:lnTo>
                <a:lnTo>
                  <a:pt x="103120" y="237"/>
                </a:lnTo>
                <a:close/>
              </a:path>
            </a:pathLst>
          </a:custGeom>
          <a:solidFill>
            <a:srgbClr val="3D49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chemeClr val="bg1"/>
                </a:solidFill>
                <a:latin typeface="PT Sans Narrow" panose="020B0604020202020204" charset="-52"/>
              </a:rPr>
              <a:t>THE CITIES POPULATION GROWTH</a:t>
            </a:r>
            <a:r>
              <a:rPr lang="ru-RU" sz="1600" b="1" dirty="0">
                <a:solidFill>
                  <a:schemeClr val="bg1"/>
                </a:solidFill>
                <a:latin typeface="PT Sans Narrow" panose="020B0604020202020204" charset="-52"/>
              </a:rPr>
              <a:t> </a:t>
            </a:r>
            <a:r>
              <a:rPr lang="en-US" sz="1600" b="1" dirty="0">
                <a:solidFill>
                  <a:schemeClr val="bg1"/>
                </a:solidFill>
                <a:latin typeface="PT Sans Narrow" panose="020B0604020202020204" charset="-52"/>
              </a:rPr>
              <a:t>CHALLENGE </a:t>
            </a:r>
            <a:endParaRPr lang="ru-RU" sz="1600" b="1" dirty="0">
              <a:solidFill>
                <a:schemeClr val="bg1"/>
              </a:solidFill>
              <a:latin typeface="PT Sans Narrow" panose="020B0604020202020204" charset="-52"/>
            </a:endParaRPr>
          </a:p>
        </p:txBody>
      </p:sp>
      <p:sp>
        <p:nvSpPr>
          <p:cNvPr id="12" name="Полилиния 11"/>
          <p:cNvSpPr/>
          <p:nvPr/>
        </p:nvSpPr>
        <p:spPr>
          <a:xfrm>
            <a:off x="659" y="331336"/>
            <a:ext cx="695325" cy="2776047"/>
          </a:xfrm>
          <a:custGeom>
            <a:avLst/>
            <a:gdLst>
              <a:gd name="connsiteX0" fmla="*/ 0 w 657225"/>
              <a:gd name="connsiteY0" fmla="*/ 0 h 2162175"/>
              <a:gd name="connsiteX1" fmla="*/ 657225 w 657225"/>
              <a:gd name="connsiteY1" fmla="*/ 9525 h 2162175"/>
              <a:gd name="connsiteX2" fmla="*/ 19050 w 657225"/>
              <a:gd name="connsiteY2" fmla="*/ 2162175 h 2162175"/>
              <a:gd name="connsiteX3" fmla="*/ 0 w 657225"/>
              <a:gd name="connsiteY3" fmla="*/ 0 h 2162175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52992"/>
              <a:gd name="connsiteX1" fmla="*/ 657225 w 657225"/>
              <a:gd name="connsiteY1" fmla="*/ 9525 h 2152992"/>
              <a:gd name="connsiteX2" fmla="*/ 0 w 657225"/>
              <a:gd name="connsiteY2" fmla="*/ 2152992 h 2152992"/>
              <a:gd name="connsiteX3" fmla="*/ 0 w 657225"/>
              <a:gd name="connsiteY3" fmla="*/ 0 h 2152992"/>
              <a:gd name="connsiteX0" fmla="*/ 0 w 657225"/>
              <a:gd name="connsiteY0" fmla="*/ 17738 h 2170730"/>
              <a:gd name="connsiteX1" fmla="*/ 657225 w 657225"/>
              <a:gd name="connsiteY1" fmla="*/ 0 h 2170730"/>
              <a:gd name="connsiteX2" fmla="*/ 0 w 657225"/>
              <a:gd name="connsiteY2" fmla="*/ 2170730 h 2170730"/>
              <a:gd name="connsiteX3" fmla="*/ 0 w 657225"/>
              <a:gd name="connsiteY3" fmla="*/ 17738 h 2170730"/>
              <a:gd name="connsiteX0" fmla="*/ 0 w 657225"/>
              <a:gd name="connsiteY0" fmla="*/ 0 h 2171168"/>
              <a:gd name="connsiteX1" fmla="*/ 657225 w 657225"/>
              <a:gd name="connsiteY1" fmla="*/ 438 h 2171168"/>
              <a:gd name="connsiteX2" fmla="*/ 0 w 657225"/>
              <a:gd name="connsiteY2" fmla="*/ 2171168 h 2171168"/>
              <a:gd name="connsiteX3" fmla="*/ 0 w 657225"/>
              <a:gd name="connsiteY3" fmla="*/ 0 h 2171168"/>
              <a:gd name="connsiteX0" fmla="*/ 0 w 695325"/>
              <a:gd name="connsiteY0" fmla="*/ 0 h 2171168"/>
              <a:gd name="connsiteX1" fmla="*/ 695325 w 695325"/>
              <a:gd name="connsiteY1" fmla="*/ 438 h 2171168"/>
              <a:gd name="connsiteX2" fmla="*/ 0 w 695325"/>
              <a:gd name="connsiteY2" fmla="*/ 2171168 h 2171168"/>
              <a:gd name="connsiteX3" fmla="*/ 0 w 695325"/>
              <a:gd name="connsiteY3" fmla="*/ 0 h 2171168"/>
              <a:gd name="connsiteX0" fmla="*/ 9525 w 704850"/>
              <a:gd name="connsiteY0" fmla="*/ 0 h 2676201"/>
              <a:gd name="connsiteX1" fmla="*/ 704850 w 704850"/>
              <a:gd name="connsiteY1" fmla="*/ 438 h 2676201"/>
              <a:gd name="connsiteX2" fmla="*/ 0 w 704850"/>
              <a:gd name="connsiteY2" fmla="*/ 2676201 h 2676201"/>
              <a:gd name="connsiteX3" fmla="*/ 9525 w 704850"/>
              <a:gd name="connsiteY3" fmla="*/ 0 h 2676201"/>
              <a:gd name="connsiteX0" fmla="*/ 0 w 695325"/>
              <a:gd name="connsiteY0" fmla="*/ 0 h 2667019"/>
              <a:gd name="connsiteX1" fmla="*/ 695325 w 695325"/>
              <a:gd name="connsiteY1" fmla="*/ 438 h 2667019"/>
              <a:gd name="connsiteX2" fmla="*/ 9525 w 695325"/>
              <a:gd name="connsiteY2" fmla="*/ 2667019 h 2667019"/>
              <a:gd name="connsiteX3" fmla="*/ 0 w 695325"/>
              <a:gd name="connsiteY3" fmla="*/ 0 h 2667019"/>
              <a:gd name="connsiteX0" fmla="*/ 0 w 695325"/>
              <a:gd name="connsiteY0" fmla="*/ 0 h 2667019"/>
              <a:gd name="connsiteX1" fmla="*/ 695325 w 695325"/>
              <a:gd name="connsiteY1" fmla="*/ 438 h 2667019"/>
              <a:gd name="connsiteX2" fmla="*/ 9525 w 695325"/>
              <a:gd name="connsiteY2" fmla="*/ 2667019 h 2667019"/>
              <a:gd name="connsiteX3" fmla="*/ 0 w 695325"/>
              <a:gd name="connsiteY3" fmla="*/ 0 h 2667019"/>
              <a:gd name="connsiteX0" fmla="*/ 0 w 695325"/>
              <a:gd name="connsiteY0" fmla="*/ 0 h 2676201"/>
              <a:gd name="connsiteX1" fmla="*/ 695325 w 695325"/>
              <a:gd name="connsiteY1" fmla="*/ 438 h 2676201"/>
              <a:gd name="connsiteX2" fmla="*/ 0 w 695325"/>
              <a:gd name="connsiteY2" fmla="*/ 2676201 h 2676201"/>
              <a:gd name="connsiteX3" fmla="*/ 0 w 695325"/>
              <a:gd name="connsiteY3" fmla="*/ 0 h 2676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325" h="2676201">
                <a:moveTo>
                  <a:pt x="0" y="0"/>
                </a:moveTo>
                <a:lnTo>
                  <a:pt x="695325" y="438"/>
                </a:lnTo>
                <a:lnTo>
                  <a:pt x="0" y="2676201"/>
                </a:lnTo>
                <a:lnTo>
                  <a:pt x="0" y="0"/>
                </a:lnTo>
                <a:close/>
              </a:path>
            </a:pathLst>
          </a:custGeom>
          <a:solidFill>
            <a:srgbClr val="9829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Полилиния 12"/>
          <p:cNvSpPr/>
          <p:nvPr/>
        </p:nvSpPr>
        <p:spPr>
          <a:xfrm>
            <a:off x="0" y="0"/>
            <a:ext cx="428625" cy="1743075"/>
          </a:xfrm>
          <a:custGeom>
            <a:avLst/>
            <a:gdLst>
              <a:gd name="connsiteX0" fmla="*/ 0 w 447675"/>
              <a:gd name="connsiteY0" fmla="*/ 0 h 1447800"/>
              <a:gd name="connsiteX1" fmla="*/ 447675 w 447675"/>
              <a:gd name="connsiteY1" fmla="*/ 0 h 1447800"/>
              <a:gd name="connsiteX2" fmla="*/ 19050 w 447675"/>
              <a:gd name="connsiteY2" fmla="*/ 1447800 h 1447800"/>
              <a:gd name="connsiteX3" fmla="*/ 0 w 447675"/>
              <a:gd name="connsiteY3" fmla="*/ 0 h 1447800"/>
              <a:gd name="connsiteX0" fmla="*/ 0 w 447675"/>
              <a:gd name="connsiteY0" fmla="*/ 0 h 1476375"/>
              <a:gd name="connsiteX1" fmla="*/ 447675 w 447675"/>
              <a:gd name="connsiteY1" fmla="*/ 0 h 1476375"/>
              <a:gd name="connsiteX2" fmla="*/ 9525 w 447675"/>
              <a:gd name="connsiteY2" fmla="*/ 1476375 h 1476375"/>
              <a:gd name="connsiteX3" fmla="*/ 0 w 447675"/>
              <a:gd name="connsiteY3" fmla="*/ 0 h 1476375"/>
              <a:gd name="connsiteX0" fmla="*/ 0 w 438150"/>
              <a:gd name="connsiteY0" fmla="*/ 28575 h 1476375"/>
              <a:gd name="connsiteX1" fmla="*/ 438150 w 438150"/>
              <a:gd name="connsiteY1" fmla="*/ 0 h 1476375"/>
              <a:gd name="connsiteX2" fmla="*/ 0 w 438150"/>
              <a:gd name="connsiteY2" fmla="*/ 1476375 h 1476375"/>
              <a:gd name="connsiteX3" fmla="*/ 0 w 438150"/>
              <a:gd name="connsiteY3" fmla="*/ 28575 h 1476375"/>
              <a:gd name="connsiteX0" fmla="*/ 9525 w 438150"/>
              <a:gd name="connsiteY0" fmla="*/ 9525 h 1476375"/>
              <a:gd name="connsiteX1" fmla="*/ 438150 w 438150"/>
              <a:gd name="connsiteY1" fmla="*/ 0 h 1476375"/>
              <a:gd name="connsiteX2" fmla="*/ 0 w 438150"/>
              <a:gd name="connsiteY2" fmla="*/ 1476375 h 1476375"/>
              <a:gd name="connsiteX3" fmla="*/ 9525 w 438150"/>
              <a:gd name="connsiteY3" fmla="*/ 9525 h 1476375"/>
              <a:gd name="connsiteX0" fmla="*/ 0 w 428625"/>
              <a:gd name="connsiteY0" fmla="*/ 9525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0 w 428625"/>
              <a:gd name="connsiteY3" fmla="*/ 9525 h 1504950"/>
              <a:gd name="connsiteX0" fmla="*/ 19050 w 428625"/>
              <a:gd name="connsiteY0" fmla="*/ 0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19050 w 428625"/>
              <a:gd name="connsiteY3" fmla="*/ 0 h 1504950"/>
              <a:gd name="connsiteX0" fmla="*/ 0 w 428625"/>
              <a:gd name="connsiteY0" fmla="*/ 0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0 w 428625"/>
              <a:gd name="connsiteY3" fmla="*/ 0 h 1504950"/>
              <a:gd name="connsiteX0" fmla="*/ 0 w 428625"/>
              <a:gd name="connsiteY0" fmla="*/ 0 h 1581150"/>
              <a:gd name="connsiteX1" fmla="*/ 428625 w 428625"/>
              <a:gd name="connsiteY1" fmla="*/ 0 h 1581150"/>
              <a:gd name="connsiteX2" fmla="*/ 0 w 428625"/>
              <a:gd name="connsiteY2" fmla="*/ 1581150 h 1581150"/>
              <a:gd name="connsiteX3" fmla="*/ 0 w 428625"/>
              <a:gd name="connsiteY3" fmla="*/ 0 h 1581150"/>
              <a:gd name="connsiteX0" fmla="*/ 0 w 428625"/>
              <a:gd name="connsiteY0" fmla="*/ 0 h 1743075"/>
              <a:gd name="connsiteX1" fmla="*/ 428625 w 428625"/>
              <a:gd name="connsiteY1" fmla="*/ 0 h 1743075"/>
              <a:gd name="connsiteX2" fmla="*/ 0 w 428625"/>
              <a:gd name="connsiteY2" fmla="*/ 1743075 h 1743075"/>
              <a:gd name="connsiteX3" fmla="*/ 0 w 428625"/>
              <a:gd name="connsiteY3" fmla="*/ 0 h 1743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8625" h="1743075">
                <a:moveTo>
                  <a:pt x="0" y="0"/>
                </a:moveTo>
                <a:lnTo>
                  <a:pt x="428625" y="0"/>
                </a:lnTo>
                <a:lnTo>
                  <a:pt x="0" y="1743075"/>
                </a:lnTo>
                <a:lnTo>
                  <a:pt x="0" y="0"/>
                </a:lnTo>
                <a:close/>
              </a:path>
            </a:pathLst>
          </a:custGeom>
          <a:solidFill>
            <a:srgbClr val="6E6B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41FF1F23-1458-432C-8357-0B33AF0211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6782" y="1512540"/>
            <a:ext cx="8211977" cy="1035835"/>
          </a:xfr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/>
          <a:p>
            <a:pPr algn="l"/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The population growth is corelated with the largest cities GDP growth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latin typeface="PT Sans Narrow" panose="020B0506020203020204" pitchFamily="34" charset="-52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B8CBFF-2DF3-4146-8CF7-60C58E6C24C1}"/>
              </a:ext>
            </a:extLst>
          </p:cNvPr>
          <p:cNvSpPr txBox="1"/>
          <p:nvPr/>
        </p:nvSpPr>
        <p:spPr>
          <a:xfrm>
            <a:off x="1256782" y="2531557"/>
            <a:ext cx="8701233" cy="2492990"/>
          </a:xfrm>
          <a:prstGeom prst="rect">
            <a:avLst/>
          </a:prstGeom>
          <a:solidFill>
            <a:schemeClr val="bg1">
              <a:lumMod val="50000"/>
              <a:alpha val="50000"/>
            </a:schemeClr>
          </a:solidFill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T Sans Narrow" panose="020B0506020203020204" pitchFamily="34" charset="-52"/>
              </a:rPr>
              <a:t>The world population is approximately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T Sans Narrow" panose="020B0506020203020204" pitchFamily="34" charset="-52"/>
              </a:rPr>
              <a:t>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T Sans Narrow" panose="020B0506020203020204" pitchFamily="34" charset="-52"/>
              </a:rPr>
              <a:t>7,6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T Sans Narrow" panose="020B0506020203020204" pitchFamily="34" charset="-52"/>
              </a:rPr>
              <a:t>billion people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T Sans Narrow" panose="020B0506020203020204" pitchFamily="34" charset="-52"/>
            </a:endParaRPr>
          </a:p>
          <a:p>
            <a:pPr marL="285750" lvl="0" indent="-285750" defTabSz="914400">
              <a:buFont typeface="Wingdings" panose="05000000000000000000" pitchFamily="2" charset="2"/>
              <a:buChar char="Ø"/>
              <a:defRPr/>
            </a:pPr>
            <a:r>
              <a:rPr lang="en-US" sz="1800" dirty="0">
                <a:solidFill>
                  <a:schemeClr val="bg1"/>
                </a:solidFill>
                <a:latin typeface="PT Sans Narrow" panose="020B0506020203020204" pitchFamily="34" charset="-52"/>
              </a:rPr>
              <a:t>There is </a:t>
            </a:r>
            <a:r>
              <a:rPr lang="ru-RU" sz="2000" b="1" dirty="0">
                <a:solidFill>
                  <a:schemeClr val="bg1"/>
                </a:solidFill>
                <a:latin typeface="PT Sans Narrow" panose="020B0506020203020204" pitchFamily="34" charset="-52"/>
              </a:rPr>
              <a:t>10%</a:t>
            </a:r>
            <a:r>
              <a:rPr lang="ru-RU" sz="1800" dirty="0">
                <a:solidFill>
                  <a:schemeClr val="bg1"/>
                </a:solidFill>
                <a:latin typeface="PT Sans Narrow" panose="020B0506020203020204" pitchFamily="34" charset="-52"/>
              </a:rPr>
              <a:t> </a:t>
            </a:r>
            <a:r>
              <a:rPr lang="en-US" sz="1800" dirty="0">
                <a:solidFill>
                  <a:schemeClr val="bg1"/>
                </a:solidFill>
                <a:latin typeface="PT Sans Narrow" panose="020B0506020203020204" pitchFamily="34" charset="-52"/>
              </a:rPr>
              <a:t>of the world’s population living in the </a:t>
            </a:r>
            <a:r>
              <a:rPr lang="ru-RU" sz="1800" b="1" dirty="0">
                <a:solidFill>
                  <a:schemeClr val="bg1"/>
                </a:solidFill>
                <a:latin typeface="PT Sans Narrow" panose="020B0506020203020204" pitchFamily="34" charset="-52"/>
              </a:rPr>
              <a:t>50</a:t>
            </a:r>
            <a:r>
              <a:rPr lang="en-US" sz="1800" b="1" dirty="0">
                <a:solidFill>
                  <a:schemeClr val="bg1"/>
                </a:solidFill>
                <a:latin typeface="PT Sans Narrow" panose="020B0506020203020204" pitchFamily="34" charset="-52"/>
              </a:rPr>
              <a:t> largest cities</a:t>
            </a:r>
            <a:endParaRPr kumimoji="0" lang="ru-RU" sz="1800" b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T Sans Narrow" panose="020B0506020203020204" pitchFamily="34" charset="-52"/>
            </a:endParaRPr>
          </a:p>
          <a:p>
            <a:pPr marL="285750" lvl="0" indent="-285750" defTabSz="914400">
              <a:buFont typeface="Wingdings" panose="05000000000000000000" pitchFamily="2" charset="2"/>
              <a:buChar char="Ø"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T Sans Narrow" panose="020B0506020203020204" pitchFamily="34" charset="-52"/>
              </a:rPr>
              <a:t>More than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T Sans Narrow" panose="020B0506020203020204" pitchFamily="34" charset="-52"/>
              </a:rPr>
              <a:t>half of world’s GDP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T Sans Narrow" panose="020B0506020203020204" pitchFamily="34" charset="-52"/>
              </a:rPr>
              <a:t>is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T Sans Narrow" panose="020B0506020203020204" pitchFamily="34" charset="-52"/>
              </a:rPr>
              <a:t> </a:t>
            </a:r>
            <a:r>
              <a:rPr lang="en-US" sz="1800" dirty="0">
                <a:solidFill>
                  <a:schemeClr val="bg1"/>
                </a:solidFill>
                <a:latin typeface="PT Sans Narrow" panose="020B0506020203020204" pitchFamily="34" charset="-52"/>
              </a:rPr>
              <a:t>produced by the largest cities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T Sans Narrow" panose="020B0506020203020204" pitchFamily="34" charset="-52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US" sz="1800" dirty="0">
                <a:solidFill>
                  <a:schemeClr val="bg1"/>
                </a:solidFill>
                <a:latin typeface="PT Sans Narrow" panose="020B0506020203020204" pitchFamily="34" charset="-52"/>
              </a:rPr>
              <a:t>The average population density in the megapolises is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T Sans Narrow" panose="020B0506020203020204" pitchFamily="34" charset="-52"/>
              </a:rPr>
              <a:t>6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T Sans Narrow" panose="020B0506020203020204" pitchFamily="34" charset="-52"/>
              </a:rPr>
              <a:t>thousand people per squire km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T Sans Narrow" panose="020B0506020203020204" pitchFamily="34" charset="-52"/>
              </a:rPr>
              <a:t>.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T Sans Narrow" panose="020B0506020203020204" pitchFamily="34" charset="-52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T Sans Narrow" panose="020B0506020203020204" pitchFamily="34" charset="-52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T Sans Narrow" panose="020B0506020203020204" pitchFamily="34" charset="-52"/>
              </a:rPr>
              <a:t>The Moscow population is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T Sans Narrow" panose="020B0506020203020204" pitchFamily="34" charset="-52"/>
              </a:rPr>
              <a:t>11%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T Sans Narrow" panose="020B0506020203020204" pitchFamily="34" charset="-52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T Sans Narrow" panose="020B0506020203020204" pitchFamily="34" charset="-52"/>
              </a:rPr>
              <a:t>of the whole Russian population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T Sans Narrow" panose="020B0506020203020204" pitchFamily="34" charset="-52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T Sans Narrow" panose="020B0506020203020204" pitchFamily="34" charset="-52"/>
              </a:rPr>
              <a:t>Moscow share in Russian GDP is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T Sans Narrow" panose="020B0506020203020204" pitchFamily="34" charset="-52"/>
              </a:rPr>
              <a:t>26%</a:t>
            </a:r>
          </a:p>
          <a:p>
            <a:pPr marL="285750" lvl="0" indent="-285750" defTabSz="914400">
              <a:buFont typeface="Wingdings" panose="05000000000000000000" pitchFamily="2" charset="2"/>
              <a:buChar char="Ø"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T Sans Narrow" panose="020B0506020203020204" pitchFamily="34" charset="-52"/>
              </a:rPr>
              <a:t>The Moscow population density is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T Sans Narrow" panose="020B0506020203020204" pitchFamily="34" charset="-52"/>
              </a:rPr>
              <a:t>4 </a:t>
            </a:r>
            <a:r>
              <a:rPr lang="en-US" sz="2000" b="1" dirty="0">
                <a:solidFill>
                  <a:schemeClr val="bg1"/>
                </a:solidFill>
                <a:latin typeface="PT Sans Narrow" panose="020B0506020203020204" pitchFamily="34" charset="-52"/>
              </a:rPr>
              <a:t>thousand people per </a:t>
            </a:r>
            <a:r>
              <a:rPr lang="en-US" sz="2000" b="1" dirty="0" err="1">
                <a:solidFill>
                  <a:schemeClr val="bg1"/>
                </a:solidFill>
                <a:latin typeface="PT Sans Narrow" panose="020B0506020203020204" pitchFamily="34" charset="-52"/>
              </a:rPr>
              <a:t>sq</a:t>
            </a:r>
            <a:r>
              <a:rPr lang="en-US" sz="2000" b="1" dirty="0">
                <a:solidFill>
                  <a:schemeClr val="bg1"/>
                </a:solidFill>
                <a:latin typeface="PT Sans Narrow" panose="020B0506020203020204" pitchFamily="34" charset="-52"/>
              </a:rPr>
              <a:t> km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T Sans Narrow" panose="020B0506020203020204" pitchFamily="34" charset="-52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03CFF3AF-AFAD-4F2F-86E0-0CA61AEF1173}"/>
              </a:ext>
            </a:extLst>
          </p:cNvPr>
          <p:cNvSpPr/>
          <p:nvPr/>
        </p:nvSpPr>
        <p:spPr>
          <a:xfrm>
            <a:off x="1256782" y="5256956"/>
            <a:ext cx="87879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PT Sans Narrow" panose="020B0506020203020204" pitchFamily="34" charset="-52"/>
              </a:rPr>
              <a:t>The new tendencies of the agglomerations development are being formed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PT Sans Narrow" panose="020B0506020203020204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333529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96"/>
          <a:stretch/>
        </p:blipFill>
        <p:spPr>
          <a:xfrm>
            <a:off x="3345061" y="1597421"/>
            <a:ext cx="7726436" cy="5819775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7</a:t>
            </a:fld>
            <a:endParaRPr lang="ru-RU"/>
          </a:p>
        </p:txBody>
      </p:sp>
      <p:sp>
        <p:nvSpPr>
          <p:cNvPr id="11" name="Полилиния 10"/>
          <p:cNvSpPr/>
          <p:nvPr/>
        </p:nvSpPr>
        <p:spPr>
          <a:xfrm>
            <a:off x="6718423" y="331336"/>
            <a:ext cx="4337812" cy="438410"/>
          </a:xfrm>
          <a:custGeom>
            <a:avLst/>
            <a:gdLst>
              <a:gd name="connsiteX0" fmla="*/ 76200 w 3352800"/>
              <a:gd name="connsiteY0" fmla="*/ 0 h 438150"/>
              <a:gd name="connsiteX1" fmla="*/ 3352800 w 3352800"/>
              <a:gd name="connsiteY1" fmla="*/ 9525 h 438150"/>
              <a:gd name="connsiteX2" fmla="*/ 3352800 w 3352800"/>
              <a:gd name="connsiteY2" fmla="*/ 438150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52800"/>
              <a:gd name="connsiteY0" fmla="*/ 0 h 438150"/>
              <a:gd name="connsiteX1" fmla="*/ 3343275 w 3352800"/>
              <a:gd name="connsiteY1" fmla="*/ 0 h 438150"/>
              <a:gd name="connsiteX2" fmla="*/ 3352800 w 3352800"/>
              <a:gd name="connsiteY2" fmla="*/ 438150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43275"/>
              <a:gd name="connsiteY0" fmla="*/ 0 h 438150"/>
              <a:gd name="connsiteX1" fmla="*/ 3343275 w 3343275"/>
              <a:gd name="connsiteY1" fmla="*/ 0 h 438150"/>
              <a:gd name="connsiteX2" fmla="*/ 3333750 w 3343275"/>
              <a:gd name="connsiteY2" fmla="*/ 438150 h 438150"/>
              <a:gd name="connsiteX3" fmla="*/ 0 w 3343275"/>
              <a:gd name="connsiteY3" fmla="*/ 438150 h 438150"/>
              <a:gd name="connsiteX4" fmla="*/ 76200 w 3343275"/>
              <a:gd name="connsiteY4" fmla="*/ 0 h 438150"/>
              <a:gd name="connsiteX0" fmla="*/ 76200 w 3352800"/>
              <a:gd name="connsiteY0" fmla="*/ 0 h 438150"/>
              <a:gd name="connsiteX1" fmla="*/ 3343275 w 3352800"/>
              <a:gd name="connsiteY1" fmla="*/ 0 h 438150"/>
              <a:gd name="connsiteX2" fmla="*/ 3352800 w 3352800"/>
              <a:gd name="connsiteY2" fmla="*/ 428625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43275"/>
              <a:gd name="connsiteY0" fmla="*/ 0 h 447675"/>
              <a:gd name="connsiteX1" fmla="*/ 3343275 w 3343275"/>
              <a:gd name="connsiteY1" fmla="*/ 0 h 447675"/>
              <a:gd name="connsiteX2" fmla="*/ 3333750 w 3343275"/>
              <a:gd name="connsiteY2" fmla="*/ 447675 h 447675"/>
              <a:gd name="connsiteX3" fmla="*/ 0 w 3343275"/>
              <a:gd name="connsiteY3" fmla="*/ 438150 h 447675"/>
              <a:gd name="connsiteX4" fmla="*/ 76200 w 3343275"/>
              <a:gd name="connsiteY4" fmla="*/ 0 h 447675"/>
              <a:gd name="connsiteX0" fmla="*/ 76200 w 3343275"/>
              <a:gd name="connsiteY0" fmla="*/ 0 h 438150"/>
              <a:gd name="connsiteX1" fmla="*/ 3343275 w 3343275"/>
              <a:gd name="connsiteY1" fmla="*/ 0 h 438150"/>
              <a:gd name="connsiteX2" fmla="*/ 3343275 w 3343275"/>
              <a:gd name="connsiteY2" fmla="*/ 438150 h 438150"/>
              <a:gd name="connsiteX3" fmla="*/ 0 w 3343275"/>
              <a:gd name="connsiteY3" fmla="*/ 438150 h 438150"/>
              <a:gd name="connsiteX4" fmla="*/ 76200 w 3343275"/>
              <a:gd name="connsiteY4" fmla="*/ 0 h 438150"/>
              <a:gd name="connsiteX0" fmla="*/ 144439 w 3411514"/>
              <a:gd name="connsiteY0" fmla="*/ 0 h 438150"/>
              <a:gd name="connsiteX1" fmla="*/ 3411514 w 3411514"/>
              <a:gd name="connsiteY1" fmla="*/ 0 h 438150"/>
              <a:gd name="connsiteX2" fmla="*/ 3411514 w 3411514"/>
              <a:gd name="connsiteY2" fmla="*/ 438150 h 438150"/>
              <a:gd name="connsiteX3" fmla="*/ 0 w 3411514"/>
              <a:gd name="connsiteY3" fmla="*/ 438150 h 438150"/>
              <a:gd name="connsiteX4" fmla="*/ 144439 w 3411514"/>
              <a:gd name="connsiteY4" fmla="*/ 0 h 438150"/>
              <a:gd name="connsiteX0" fmla="*/ 117143 w 3384218"/>
              <a:gd name="connsiteY0" fmla="*/ 0 h 438150"/>
              <a:gd name="connsiteX1" fmla="*/ 3384218 w 3384218"/>
              <a:gd name="connsiteY1" fmla="*/ 0 h 438150"/>
              <a:gd name="connsiteX2" fmla="*/ 3384218 w 3384218"/>
              <a:gd name="connsiteY2" fmla="*/ 438150 h 438150"/>
              <a:gd name="connsiteX3" fmla="*/ 0 w 3384218"/>
              <a:gd name="connsiteY3" fmla="*/ 438150 h 438150"/>
              <a:gd name="connsiteX4" fmla="*/ 117143 w 3384218"/>
              <a:gd name="connsiteY4" fmla="*/ 0 h 438150"/>
              <a:gd name="connsiteX0" fmla="*/ 117143 w 4325913"/>
              <a:gd name="connsiteY0" fmla="*/ 0 h 438150"/>
              <a:gd name="connsiteX1" fmla="*/ 4325913 w 4325913"/>
              <a:gd name="connsiteY1" fmla="*/ 0 h 438150"/>
              <a:gd name="connsiteX2" fmla="*/ 3384218 w 4325913"/>
              <a:gd name="connsiteY2" fmla="*/ 438150 h 438150"/>
              <a:gd name="connsiteX3" fmla="*/ 0 w 4325913"/>
              <a:gd name="connsiteY3" fmla="*/ 438150 h 438150"/>
              <a:gd name="connsiteX4" fmla="*/ 117143 w 4325913"/>
              <a:gd name="connsiteY4" fmla="*/ 0 h 438150"/>
              <a:gd name="connsiteX0" fmla="*/ 117143 w 4325913"/>
              <a:gd name="connsiteY0" fmla="*/ 0 h 451798"/>
              <a:gd name="connsiteX1" fmla="*/ 4325913 w 4325913"/>
              <a:gd name="connsiteY1" fmla="*/ 0 h 451798"/>
              <a:gd name="connsiteX2" fmla="*/ 4312266 w 4325913"/>
              <a:gd name="connsiteY2" fmla="*/ 451798 h 451798"/>
              <a:gd name="connsiteX3" fmla="*/ 0 w 4325913"/>
              <a:gd name="connsiteY3" fmla="*/ 438150 h 451798"/>
              <a:gd name="connsiteX4" fmla="*/ 117143 w 4325913"/>
              <a:gd name="connsiteY4" fmla="*/ 0 h 451798"/>
              <a:gd name="connsiteX0" fmla="*/ 117143 w 4325914"/>
              <a:gd name="connsiteY0" fmla="*/ 0 h 438150"/>
              <a:gd name="connsiteX1" fmla="*/ 4325913 w 4325914"/>
              <a:gd name="connsiteY1" fmla="*/ 0 h 438150"/>
              <a:gd name="connsiteX2" fmla="*/ 4325914 w 4325914"/>
              <a:gd name="connsiteY2" fmla="*/ 438150 h 438150"/>
              <a:gd name="connsiteX3" fmla="*/ 0 w 4325914"/>
              <a:gd name="connsiteY3" fmla="*/ 438150 h 438150"/>
              <a:gd name="connsiteX4" fmla="*/ 117143 w 4325914"/>
              <a:gd name="connsiteY4" fmla="*/ 0 h 438150"/>
              <a:gd name="connsiteX0" fmla="*/ 117143 w 4339562"/>
              <a:gd name="connsiteY0" fmla="*/ 0 h 451797"/>
              <a:gd name="connsiteX1" fmla="*/ 4325913 w 4339562"/>
              <a:gd name="connsiteY1" fmla="*/ 0 h 451797"/>
              <a:gd name="connsiteX2" fmla="*/ 4339562 w 4339562"/>
              <a:gd name="connsiteY2" fmla="*/ 451797 h 451797"/>
              <a:gd name="connsiteX3" fmla="*/ 0 w 4339562"/>
              <a:gd name="connsiteY3" fmla="*/ 438150 h 451797"/>
              <a:gd name="connsiteX4" fmla="*/ 117143 w 4339562"/>
              <a:gd name="connsiteY4" fmla="*/ 0 h 451797"/>
              <a:gd name="connsiteX0" fmla="*/ 117143 w 4325913"/>
              <a:gd name="connsiteY0" fmla="*/ 0 h 451797"/>
              <a:gd name="connsiteX1" fmla="*/ 4325913 w 4325913"/>
              <a:gd name="connsiteY1" fmla="*/ 0 h 451797"/>
              <a:gd name="connsiteX2" fmla="*/ 4312266 w 4325913"/>
              <a:gd name="connsiteY2" fmla="*/ 451797 h 451797"/>
              <a:gd name="connsiteX3" fmla="*/ 0 w 4325913"/>
              <a:gd name="connsiteY3" fmla="*/ 438150 h 451797"/>
              <a:gd name="connsiteX4" fmla="*/ 117143 w 4325913"/>
              <a:gd name="connsiteY4" fmla="*/ 0 h 451797"/>
              <a:gd name="connsiteX0" fmla="*/ 117143 w 4325914"/>
              <a:gd name="connsiteY0" fmla="*/ 0 h 438150"/>
              <a:gd name="connsiteX1" fmla="*/ 4325913 w 4325914"/>
              <a:gd name="connsiteY1" fmla="*/ 0 h 438150"/>
              <a:gd name="connsiteX2" fmla="*/ 4325914 w 4325914"/>
              <a:gd name="connsiteY2" fmla="*/ 424502 h 438150"/>
              <a:gd name="connsiteX3" fmla="*/ 0 w 4325914"/>
              <a:gd name="connsiteY3" fmla="*/ 438150 h 438150"/>
              <a:gd name="connsiteX4" fmla="*/ 117143 w 4325914"/>
              <a:gd name="connsiteY4" fmla="*/ 0 h 438150"/>
              <a:gd name="connsiteX0" fmla="*/ 117143 w 4325913"/>
              <a:gd name="connsiteY0" fmla="*/ 0 h 438409"/>
              <a:gd name="connsiteX1" fmla="*/ 4325913 w 4325913"/>
              <a:gd name="connsiteY1" fmla="*/ 0 h 438409"/>
              <a:gd name="connsiteX2" fmla="*/ 4318960 w 4325913"/>
              <a:gd name="connsiteY2" fmla="*/ 438409 h 438409"/>
              <a:gd name="connsiteX3" fmla="*/ 0 w 4325913"/>
              <a:gd name="connsiteY3" fmla="*/ 438150 h 438409"/>
              <a:gd name="connsiteX4" fmla="*/ 117143 w 4325913"/>
              <a:gd name="connsiteY4" fmla="*/ 0 h 438409"/>
              <a:gd name="connsiteX0" fmla="*/ 154850 w 4325913"/>
              <a:gd name="connsiteY0" fmla="*/ 9427 h 438409"/>
              <a:gd name="connsiteX1" fmla="*/ 4325913 w 4325913"/>
              <a:gd name="connsiteY1" fmla="*/ 0 h 438409"/>
              <a:gd name="connsiteX2" fmla="*/ 4318960 w 4325913"/>
              <a:gd name="connsiteY2" fmla="*/ 438409 h 438409"/>
              <a:gd name="connsiteX3" fmla="*/ 0 w 4325913"/>
              <a:gd name="connsiteY3" fmla="*/ 438150 h 438409"/>
              <a:gd name="connsiteX4" fmla="*/ 154850 w 4325913"/>
              <a:gd name="connsiteY4" fmla="*/ 9427 h 438409"/>
              <a:gd name="connsiteX0" fmla="*/ 117143 w 4288206"/>
              <a:gd name="connsiteY0" fmla="*/ 9427 h 438409"/>
              <a:gd name="connsiteX1" fmla="*/ 4288206 w 4288206"/>
              <a:gd name="connsiteY1" fmla="*/ 0 h 438409"/>
              <a:gd name="connsiteX2" fmla="*/ 4281253 w 4288206"/>
              <a:gd name="connsiteY2" fmla="*/ 438409 h 438409"/>
              <a:gd name="connsiteX3" fmla="*/ 0 w 4288206"/>
              <a:gd name="connsiteY3" fmla="*/ 428723 h 438409"/>
              <a:gd name="connsiteX4" fmla="*/ 117143 w 4288206"/>
              <a:gd name="connsiteY4" fmla="*/ 9427 h 438409"/>
              <a:gd name="connsiteX0" fmla="*/ 126570 w 4288206"/>
              <a:gd name="connsiteY0" fmla="*/ 0 h 438409"/>
              <a:gd name="connsiteX1" fmla="*/ 4288206 w 4288206"/>
              <a:gd name="connsiteY1" fmla="*/ 0 h 438409"/>
              <a:gd name="connsiteX2" fmla="*/ 4281253 w 4288206"/>
              <a:gd name="connsiteY2" fmla="*/ 438409 h 438409"/>
              <a:gd name="connsiteX3" fmla="*/ 0 w 4288206"/>
              <a:gd name="connsiteY3" fmla="*/ 428723 h 438409"/>
              <a:gd name="connsiteX4" fmla="*/ 126570 w 4288206"/>
              <a:gd name="connsiteY4" fmla="*/ 0 h 438409"/>
              <a:gd name="connsiteX0" fmla="*/ 107716 w 4269352"/>
              <a:gd name="connsiteY0" fmla="*/ 0 h 438409"/>
              <a:gd name="connsiteX1" fmla="*/ 4269352 w 4269352"/>
              <a:gd name="connsiteY1" fmla="*/ 0 h 438409"/>
              <a:gd name="connsiteX2" fmla="*/ 4262399 w 4269352"/>
              <a:gd name="connsiteY2" fmla="*/ 438409 h 438409"/>
              <a:gd name="connsiteX3" fmla="*/ 0 w 4269352"/>
              <a:gd name="connsiteY3" fmla="*/ 428723 h 438409"/>
              <a:gd name="connsiteX4" fmla="*/ 107716 w 4269352"/>
              <a:gd name="connsiteY4" fmla="*/ 0 h 438409"/>
              <a:gd name="connsiteX0" fmla="*/ 126569 w 4288205"/>
              <a:gd name="connsiteY0" fmla="*/ 0 h 438409"/>
              <a:gd name="connsiteX1" fmla="*/ 4288205 w 4288205"/>
              <a:gd name="connsiteY1" fmla="*/ 0 h 438409"/>
              <a:gd name="connsiteX2" fmla="*/ 4281252 w 4288205"/>
              <a:gd name="connsiteY2" fmla="*/ 438409 h 438409"/>
              <a:gd name="connsiteX3" fmla="*/ 0 w 4288205"/>
              <a:gd name="connsiteY3" fmla="*/ 428723 h 438409"/>
              <a:gd name="connsiteX4" fmla="*/ 126569 w 4288205"/>
              <a:gd name="connsiteY4" fmla="*/ 0 h 438409"/>
              <a:gd name="connsiteX0" fmla="*/ 126569 w 4288205"/>
              <a:gd name="connsiteY0" fmla="*/ 0 h 438409"/>
              <a:gd name="connsiteX1" fmla="*/ 4288205 w 4288205"/>
              <a:gd name="connsiteY1" fmla="*/ 0 h 438409"/>
              <a:gd name="connsiteX2" fmla="*/ 4281252 w 4288205"/>
              <a:gd name="connsiteY2" fmla="*/ 438409 h 438409"/>
              <a:gd name="connsiteX3" fmla="*/ 0 w 4288205"/>
              <a:gd name="connsiteY3" fmla="*/ 428723 h 438409"/>
              <a:gd name="connsiteX4" fmla="*/ 126569 w 4288205"/>
              <a:gd name="connsiteY4" fmla="*/ 0 h 438409"/>
              <a:gd name="connsiteX0" fmla="*/ 135995 w 4297631"/>
              <a:gd name="connsiteY0" fmla="*/ 0 h 438409"/>
              <a:gd name="connsiteX1" fmla="*/ 4297631 w 4297631"/>
              <a:gd name="connsiteY1" fmla="*/ 0 h 438409"/>
              <a:gd name="connsiteX2" fmla="*/ 4290678 w 4297631"/>
              <a:gd name="connsiteY2" fmla="*/ 438409 h 438409"/>
              <a:gd name="connsiteX3" fmla="*/ 0 w 4297631"/>
              <a:gd name="connsiteY3" fmla="*/ 438150 h 438409"/>
              <a:gd name="connsiteX4" fmla="*/ 135995 w 4297631"/>
              <a:gd name="connsiteY4" fmla="*/ 0 h 438409"/>
              <a:gd name="connsiteX0" fmla="*/ 135995 w 4309531"/>
              <a:gd name="connsiteY0" fmla="*/ 0 h 438150"/>
              <a:gd name="connsiteX1" fmla="*/ 4297631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16484"/>
              <a:gd name="connsiteY0" fmla="*/ 0 h 438150"/>
              <a:gd name="connsiteX1" fmla="*/ 4316484 w 4316484"/>
              <a:gd name="connsiteY1" fmla="*/ 0 h 438150"/>
              <a:gd name="connsiteX2" fmla="*/ 4309531 w 4316484"/>
              <a:gd name="connsiteY2" fmla="*/ 428983 h 438150"/>
              <a:gd name="connsiteX3" fmla="*/ 0 w 4316484"/>
              <a:gd name="connsiteY3" fmla="*/ 438150 h 438150"/>
              <a:gd name="connsiteX4" fmla="*/ 135995 w 4316484"/>
              <a:gd name="connsiteY4" fmla="*/ 0 h 438150"/>
              <a:gd name="connsiteX0" fmla="*/ 135995 w 4309531"/>
              <a:gd name="connsiteY0" fmla="*/ 0 h 438150"/>
              <a:gd name="connsiteX1" fmla="*/ 4307057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09531"/>
              <a:gd name="connsiteY0" fmla="*/ 0 h 438150"/>
              <a:gd name="connsiteX1" fmla="*/ 4307057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07057"/>
              <a:gd name="connsiteY0" fmla="*/ 0 h 438410"/>
              <a:gd name="connsiteX1" fmla="*/ 4307057 w 4307057"/>
              <a:gd name="connsiteY1" fmla="*/ 0 h 438410"/>
              <a:gd name="connsiteX2" fmla="*/ 4300104 w 4307057"/>
              <a:gd name="connsiteY2" fmla="*/ 438410 h 438410"/>
              <a:gd name="connsiteX3" fmla="*/ 0 w 4307057"/>
              <a:gd name="connsiteY3" fmla="*/ 438150 h 438410"/>
              <a:gd name="connsiteX4" fmla="*/ 135995 w 4307057"/>
              <a:gd name="connsiteY4" fmla="*/ 0 h 438410"/>
              <a:gd name="connsiteX0" fmla="*/ 135995 w 4300104"/>
              <a:gd name="connsiteY0" fmla="*/ 0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135995 w 4300104"/>
              <a:gd name="connsiteY4" fmla="*/ 0 h 438410"/>
              <a:gd name="connsiteX0" fmla="*/ 88861 w 4300104"/>
              <a:gd name="connsiteY0" fmla="*/ 9427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88861 w 4300104"/>
              <a:gd name="connsiteY4" fmla="*/ 9427 h 438410"/>
              <a:gd name="connsiteX0" fmla="*/ 88861 w 4300104"/>
              <a:gd name="connsiteY0" fmla="*/ 9427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88861 w 4300104"/>
              <a:gd name="connsiteY4" fmla="*/ 9427 h 438410"/>
              <a:gd name="connsiteX0" fmla="*/ 98288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98288 w 4309531"/>
              <a:gd name="connsiteY4" fmla="*/ 9427 h 438410"/>
              <a:gd name="connsiteX0" fmla="*/ 98288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98288 w 4309531"/>
              <a:gd name="connsiteY4" fmla="*/ 9427 h 438410"/>
              <a:gd name="connsiteX0" fmla="*/ 79434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9427 h 438410"/>
              <a:gd name="connsiteX0" fmla="*/ 79434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9427 h 438410"/>
              <a:gd name="connsiteX0" fmla="*/ 79434 w 4309531"/>
              <a:gd name="connsiteY0" fmla="*/ 4832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4832 h 438410"/>
              <a:gd name="connsiteX0" fmla="*/ 88624 w 4309531"/>
              <a:gd name="connsiteY0" fmla="*/ 4832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88624 w 4309531"/>
              <a:gd name="connsiteY4" fmla="*/ 4832 h 438410"/>
              <a:gd name="connsiteX0" fmla="*/ 74839 w 4309531"/>
              <a:gd name="connsiteY0" fmla="*/ 23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4839 w 4309531"/>
              <a:gd name="connsiteY4" fmla="*/ 237 h 438410"/>
              <a:gd name="connsiteX0" fmla="*/ 103120 w 4337812"/>
              <a:gd name="connsiteY0" fmla="*/ 237 h 438410"/>
              <a:gd name="connsiteX1" fmla="*/ 4335712 w 4337812"/>
              <a:gd name="connsiteY1" fmla="*/ 0 h 438410"/>
              <a:gd name="connsiteX2" fmla="*/ 4337812 w 4337812"/>
              <a:gd name="connsiteY2" fmla="*/ 438410 h 438410"/>
              <a:gd name="connsiteX3" fmla="*/ 0 w 4337812"/>
              <a:gd name="connsiteY3" fmla="*/ 428723 h 438410"/>
              <a:gd name="connsiteX4" fmla="*/ 103120 w 4337812"/>
              <a:gd name="connsiteY4" fmla="*/ 237 h 438410"/>
              <a:gd name="connsiteX0" fmla="*/ 103120 w 4337812"/>
              <a:gd name="connsiteY0" fmla="*/ 237 h 447577"/>
              <a:gd name="connsiteX1" fmla="*/ 4335712 w 4337812"/>
              <a:gd name="connsiteY1" fmla="*/ 0 h 447577"/>
              <a:gd name="connsiteX2" fmla="*/ 4337812 w 4337812"/>
              <a:gd name="connsiteY2" fmla="*/ 438410 h 447577"/>
              <a:gd name="connsiteX3" fmla="*/ 0 w 4337812"/>
              <a:gd name="connsiteY3" fmla="*/ 447577 h 447577"/>
              <a:gd name="connsiteX4" fmla="*/ 103120 w 4337812"/>
              <a:gd name="connsiteY4" fmla="*/ 237 h 447577"/>
              <a:gd name="connsiteX0" fmla="*/ 103120 w 4337812"/>
              <a:gd name="connsiteY0" fmla="*/ 237 h 447577"/>
              <a:gd name="connsiteX1" fmla="*/ 4335712 w 4337812"/>
              <a:gd name="connsiteY1" fmla="*/ 0 h 447577"/>
              <a:gd name="connsiteX2" fmla="*/ 4337812 w 4337812"/>
              <a:gd name="connsiteY2" fmla="*/ 438410 h 447577"/>
              <a:gd name="connsiteX3" fmla="*/ 0 w 4337812"/>
              <a:gd name="connsiteY3" fmla="*/ 447577 h 447577"/>
              <a:gd name="connsiteX4" fmla="*/ 103120 w 4337812"/>
              <a:gd name="connsiteY4" fmla="*/ 237 h 447577"/>
              <a:gd name="connsiteX0" fmla="*/ 103120 w 4337812"/>
              <a:gd name="connsiteY0" fmla="*/ 237 h 438410"/>
              <a:gd name="connsiteX1" fmla="*/ 4335712 w 4337812"/>
              <a:gd name="connsiteY1" fmla="*/ 0 h 438410"/>
              <a:gd name="connsiteX2" fmla="*/ 4337812 w 4337812"/>
              <a:gd name="connsiteY2" fmla="*/ 438410 h 438410"/>
              <a:gd name="connsiteX3" fmla="*/ 0 w 4337812"/>
              <a:gd name="connsiteY3" fmla="*/ 438150 h 438410"/>
              <a:gd name="connsiteX4" fmla="*/ 103120 w 4337812"/>
              <a:gd name="connsiteY4" fmla="*/ 237 h 438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37812" h="438410">
                <a:moveTo>
                  <a:pt x="103120" y="237"/>
                </a:moveTo>
                <a:lnTo>
                  <a:pt x="4335712" y="0"/>
                </a:lnTo>
                <a:cubicBezTo>
                  <a:pt x="4335712" y="146050"/>
                  <a:pt x="4337812" y="292360"/>
                  <a:pt x="4337812" y="438410"/>
                </a:cubicBezTo>
                <a:lnTo>
                  <a:pt x="0" y="438150"/>
                </a:lnTo>
                <a:lnTo>
                  <a:pt x="103120" y="237"/>
                </a:lnTo>
                <a:close/>
              </a:path>
            </a:pathLst>
          </a:custGeom>
          <a:solidFill>
            <a:srgbClr val="3D49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chemeClr val="bg1"/>
                </a:solidFill>
                <a:latin typeface="PT Sans Narrow" panose="020B0604020202020204" charset="-52"/>
              </a:rPr>
              <a:t>KEY TENDENCIES </a:t>
            </a:r>
            <a:endParaRPr lang="ru-RU" sz="1600" b="1" dirty="0">
              <a:solidFill>
                <a:schemeClr val="bg1"/>
              </a:solidFill>
              <a:latin typeface="PT Sans Narrow" panose="020B0604020202020204" charset="-52"/>
            </a:endParaRPr>
          </a:p>
        </p:txBody>
      </p:sp>
      <p:sp>
        <p:nvSpPr>
          <p:cNvPr id="12" name="Полилиния 11"/>
          <p:cNvSpPr/>
          <p:nvPr/>
        </p:nvSpPr>
        <p:spPr>
          <a:xfrm>
            <a:off x="659" y="331336"/>
            <a:ext cx="695325" cy="2776047"/>
          </a:xfrm>
          <a:custGeom>
            <a:avLst/>
            <a:gdLst>
              <a:gd name="connsiteX0" fmla="*/ 0 w 657225"/>
              <a:gd name="connsiteY0" fmla="*/ 0 h 2162175"/>
              <a:gd name="connsiteX1" fmla="*/ 657225 w 657225"/>
              <a:gd name="connsiteY1" fmla="*/ 9525 h 2162175"/>
              <a:gd name="connsiteX2" fmla="*/ 19050 w 657225"/>
              <a:gd name="connsiteY2" fmla="*/ 2162175 h 2162175"/>
              <a:gd name="connsiteX3" fmla="*/ 0 w 657225"/>
              <a:gd name="connsiteY3" fmla="*/ 0 h 2162175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52992"/>
              <a:gd name="connsiteX1" fmla="*/ 657225 w 657225"/>
              <a:gd name="connsiteY1" fmla="*/ 9525 h 2152992"/>
              <a:gd name="connsiteX2" fmla="*/ 0 w 657225"/>
              <a:gd name="connsiteY2" fmla="*/ 2152992 h 2152992"/>
              <a:gd name="connsiteX3" fmla="*/ 0 w 657225"/>
              <a:gd name="connsiteY3" fmla="*/ 0 h 2152992"/>
              <a:gd name="connsiteX0" fmla="*/ 0 w 657225"/>
              <a:gd name="connsiteY0" fmla="*/ 17738 h 2170730"/>
              <a:gd name="connsiteX1" fmla="*/ 657225 w 657225"/>
              <a:gd name="connsiteY1" fmla="*/ 0 h 2170730"/>
              <a:gd name="connsiteX2" fmla="*/ 0 w 657225"/>
              <a:gd name="connsiteY2" fmla="*/ 2170730 h 2170730"/>
              <a:gd name="connsiteX3" fmla="*/ 0 w 657225"/>
              <a:gd name="connsiteY3" fmla="*/ 17738 h 2170730"/>
              <a:gd name="connsiteX0" fmla="*/ 0 w 657225"/>
              <a:gd name="connsiteY0" fmla="*/ 0 h 2171168"/>
              <a:gd name="connsiteX1" fmla="*/ 657225 w 657225"/>
              <a:gd name="connsiteY1" fmla="*/ 438 h 2171168"/>
              <a:gd name="connsiteX2" fmla="*/ 0 w 657225"/>
              <a:gd name="connsiteY2" fmla="*/ 2171168 h 2171168"/>
              <a:gd name="connsiteX3" fmla="*/ 0 w 657225"/>
              <a:gd name="connsiteY3" fmla="*/ 0 h 2171168"/>
              <a:gd name="connsiteX0" fmla="*/ 0 w 695325"/>
              <a:gd name="connsiteY0" fmla="*/ 0 h 2171168"/>
              <a:gd name="connsiteX1" fmla="*/ 695325 w 695325"/>
              <a:gd name="connsiteY1" fmla="*/ 438 h 2171168"/>
              <a:gd name="connsiteX2" fmla="*/ 0 w 695325"/>
              <a:gd name="connsiteY2" fmla="*/ 2171168 h 2171168"/>
              <a:gd name="connsiteX3" fmla="*/ 0 w 695325"/>
              <a:gd name="connsiteY3" fmla="*/ 0 h 2171168"/>
              <a:gd name="connsiteX0" fmla="*/ 9525 w 704850"/>
              <a:gd name="connsiteY0" fmla="*/ 0 h 2676201"/>
              <a:gd name="connsiteX1" fmla="*/ 704850 w 704850"/>
              <a:gd name="connsiteY1" fmla="*/ 438 h 2676201"/>
              <a:gd name="connsiteX2" fmla="*/ 0 w 704850"/>
              <a:gd name="connsiteY2" fmla="*/ 2676201 h 2676201"/>
              <a:gd name="connsiteX3" fmla="*/ 9525 w 704850"/>
              <a:gd name="connsiteY3" fmla="*/ 0 h 2676201"/>
              <a:gd name="connsiteX0" fmla="*/ 0 w 695325"/>
              <a:gd name="connsiteY0" fmla="*/ 0 h 2667019"/>
              <a:gd name="connsiteX1" fmla="*/ 695325 w 695325"/>
              <a:gd name="connsiteY1" fmla="*/ 438 h 2667019"/>
              <a:gd name="connsiteX2" fmla="*/ 9525 w 695325"/>
              <a:gd name="connsiteY2" fmla="*/ 2667019 h 2667019"/>
              <a:gd name="connsiteX3" fmla="*/ 0 w 695325"/>
              <a:gd name="connsiteY3" fmla="*/ 0 h 2667019"/>
              <a:gd name="connsiteX0" fmla="*/ 0 w 695325"/>
              <a:gd name="connsiteY0" fmla="*/ 0 h 2667019"/>
              <a:gd name="connsiteX1" fmla="*/ 695325 w 695325"/>
              <a:gd name="connsiteY1" fmla="*/ 438 h 2667019"/>
              <a:gd name="connsiteX2" fmla="*/ 9525 w 695325"/>
              <a:gd name="connsiteY2" fmla="*/ 2667019 h 2667019"/>
              <a:gd name="connsiteX3" fmla="*/ 0 w 695325"/>
              <a:gd name="connsiteY3" fmla="*/ 0 h 2667019"/>
              <a:gd name="connsiteX0" fmla="*/ 0 w 695325"/>
              <a:gd name="connsiteY0" fmla="*/ 0 h 2676201"/>
              <a:gd name="connsiteX1" fmla="*/ 695325 w 695325"/>
              <a:gd name="connsiteY1" fmla="*/ 438 h 2676201"/>
              <a:gd name="connsiteX2" fmla="*/ 0 w 695325"/>
              <a:gd name="connsiteY2" fmla="*/ 2676201 h 2676201"/>
              <a:gd name="connsiteX3" fmla="*/ 0 w 695325"/>
              <a:gd name="connsiteY3" fmla="*/ 0 h 2676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325" h="2676201">
                <a:moveTo>
                  <a:pt x="0" y="0"/>
                </a:moveTo>
                <a:lnTo>
                  <a:pt x="695325" y="438"/>
                </a:lnTo>
                <a:lnTo>
                  <a:pt x="0" y="2676201"/>
                </a:lnTo>
                <a:lnTo>
                  <a:pt x="0" y="0"/>
                </a:lnTo>
                <a:close/>
              </a:path>
            </a:pathLst>
          </a:custGeom>
          <a:solidFill>
            <a:srgbClr val="9829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Полилиния 12"/>
          <p:cNvSpPr/>
          <p:nvPr/>
        </p:nvSpPr>
        <p:spPr>
          <a:xfrm>
            <a:off x="0" y="0"/>
            <a:ext cx="428625" cy="1743075"/>
          </a:xfrm>
          <a:custGeom>
            <a:avLst/>
            <a:gdLst>
              <a:gd name="connsiteX0" fmla="*/ 0 w 447675"/>
              <a:gd name="connsiteY0" fmla="*/ 0 h 1447800"/>
              <a:gd name="connsiteX1" fmla="*/ 447675 w 447675"/>
              <a:gd name="connsiteY1" fmla="*/ 0 h 1447800"/>
              <a:gd name="connsiteX2" fmla="*/ 19050 w 447675"/>
              <a:gd name="connsiteY2" fmla="*/ 1447800 h 1447800"/>
              <a:gd name="connsiteX3" fmla="*/ 0 w 447675"/>
              <a:gd name="connsiteY3" fmla="*/ 0 h 1447800"/>
              <a:gd name="connsiteX0" fmla="*/ 0 w 447675"/>
              <a:gd name="connsiteY0" fmla="*/ 0 h 1476375"/>
              <a:gd name="connsiteX1" fmla="*/ 447675 w 447675"/>
              <a:gd name="connsiteY1" fmla="*/ 0 h 1476375"/>
              <a:gd name="connsiteX2" fmla="*/ 9525 w 447675"/>
              <a:gd name="connsiteY2" fmla="*/ 1476375 h 1476375"/>
              <a:gd name="connsiteX3" fmla="*/ 0 w 447675"/>
              <a:gd name="connsiteY3" fmla="*/ 0 h 1476375"/>
              <a:gd name="connsiteX0" fmla="*/ 0 w 438150"/>
              <a:gd name="connsiteY0" fmla="*/ 28575 h 1476375"/>
              <a:gd name="connsiteX1" fmla="*/ 438150 w 438150"/>
              <a:gd name="connsiteY1" fmla="*/ 0 h 1476375"/>
              <a:gd name="connsiteX2" fmla="*/ 0 w 438150"/>
              <a:gd name="connsiteY2" fmla="*/ 1476375 h 1476375"/>
              <a:gd name="connsiteX3" fmla="*/ 0 w 438150"/>
              <a:gd name="connsiteY3" fmla="*/ 28575 h 1476375"/>
              <a:gd name="connsiteX0" fmla="*/ 9525 w 438150"/>
              <a:gd name="connsiteY0" fmla="*/ 9525 h 1476375"/>
              <a:gd name="connsiteX1" fmla="*/ 438150 w 438150"/>
              <a:gd name="connsiteY1" fmla="*/ 0 h 1476375"/>
              <a:gd name="connsiteX2" fmla="*/ 0 w 438150"/>
              <a:gd name="connsiteY2" fmla="*/ 1476375 h 1476375"/>
              <a:gd name="connsiteX3" fmla="*/ 9525 w 438150"/>
              <a:gd name="connsiteY3" fmla="*/ 9525 h 1476375"/>
              <a:gd name="connsiteX0" fmla="*/ 0 w 428625"/>
              <a:gd name="connsiteY0" fmla="*/ 9525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0 w 428625"/>
              <a:gd name="connsiteY3" fmla="*/ 9525 h 1504950"/>
              <a:gd name="connsiteX0" fmla="*/ 19050 w 428625"/>
              <a:gd name="connsiteY0" fmla="*/ 0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19050 w 428625"/>
              <a:gd name="connsiteY3" fmla="*/ 0 h 1504950"/>
              <a:gd name="connsiteX0" fmla="*/ 0 w 428625"/>
              <a:gd name="connsiteY0" fmla="*/ 0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0 w 428625"/>
              <a:gd name="connsiteY3" fmla="*/ 0 h 1504950"/>
              <a:gd name="connsiteX0" fmla="*/ 0 w 428625"/>
              <a:gd name="connsiteY0" fmla="*/ 0 h 1581150"/>
              <a:gd name="connsiteX1" fmla="*/ 428625 w 428625"/>
              <a:gd name="connsiteY1" fmla="*/ 0 h 1581150"/>
              <a:gd name="connsiteX2" fmla="*/ 0 w 428625"/>
              <a:gd name="connsiteY2" fmla="*/ 1581150 h 1581150"/>
              <a:gd name="connsiteX3" fmla="*/ 0 w 428625"/>
              <a:gd name="connsiteY3" fmla="*/ 0 h 1581150"/>
              <a:gd name="connsiteX0" fmla="*/ 0 w 428625"/>
              <a:gd name="connsiteY0" fmla="*/ 0 h 1743075"/>
              <a:gd name="connsiteX1" fmla="*/ 428625 w 428625"/>
              <a:gd name="connsiteY1" fmla="*/ 0 h 1743075"/>
              <a:gd name="connsiteX2" fmla="*/ 0 w 428625"/>
              <a:gd name="connsiteY2" fmla="*/ 1743075 h 1743075"/>
              <a:gd name="connsiteX3" fmla="*/ 0 w 428625"/>
              <a:gd name="connsiteY3" fmla="*/ 0 h 1743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8625" h="1743075">
                <a:moveTo>
                  <a:pt x="0" y="0"/>
                </a:moveTo>
                <a:lnTo>
                  <a:pt x="428625" y="0"/>
                </a:lnTo>
                <a:lnTo>
                  <a:pt x="0" y="1743075"/>
                </a:lnTo>
                <a:lnTo>
                  <a:pt x="0" y="0"/>
                </a:lnTo>
                <a:close/>
              </a:path>
            </a:pathLst>
          </a:custGeom>
          <a:solidFill>
            <a:srgbClr val="6E6B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76D70E4F-4A0F-46B7-957B-306DF20801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4353" y="1285358"/>
            <a:ext cx="10513168" cy="997072"/>
          </a:xfr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 anchorCtr="0">
            <a:noAutofit/>
          </a:bodyPr>
          <a:lstStyle/>
          <a:p>
            <a:pPr algn="l"/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Megapolis development requires implementation of new technologies into logistics system</a:t>
            </a:r>
            <a:endParaRPr lang="ru-RU" sz="2400" dirty="0">
              <a:solidFill>
                <a:schemeClr val="tx1">
                  <a:lumMod val="75000"/>
                  <a:lumOff val="25000"/>
                </a:schemeClr>
              </a:solidFill>
              <a:latin typeface="PT Sans Narrow" panose="020B0506020203020204" pitchFamily="34" charset="-52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276E909-8A53-4FB3-A534-7797B48DCF5E}"/>
              </a:ext>
            </a:extLst>
          </p:cNvPr>
          <p:cNvSpPr txBox="1"/>
          <p:nvPr/>
        </p:nvSpPr>
        <p:spPr>
          <a:xfrm>
            <a:off x="774353" y="2197731"/>
            <a:ext cx="5806585" cy="3970318"/>
          </a:xfrm>
          <a:prstGeom prst="rect">
            <a:avLst/>
          </a:prstGeom>
          <a:noFill/>
          <a:effectLst>
            <a:softEdge rad="63500"/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PT Sans Narrow" panose="020B0506020203020204" pitchFamily="34" charset="-52"/>
              </a:rPr>
              <a:t>Key tendencies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PT Sans Narrow" panose="020B0506020203020204" pitchFamily="34" charset="-52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PT Sans Narrow" panose="020B0506020203020204" pitchFamily="34" charset="-52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8292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PT Sans Narrow" panose="020B0506020203020204" pitchFamily="34" charset="-52"/>
              </a:rPr>
              <a:t>Movement of the industries, centers of 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consumption and entertainment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PT Sans Narrow" panose="020B0506020203020204" pitchFamily="34" charset="-52"/>
              </a:rPr>
              <a:t> to the suburbs of the cities</a:t>
            </a:r>
            <a:endParaRPr kumimoji="0" lang="ru-RU" sz="18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PT Sans Narrow" panose="020B0506020203020204" pitchFamily="34" charset="-52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8292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8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PT Sans Narrow" panose="020B0506020203020204" pitchFamily="34" charset="-52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8292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PT Sans Narrow" panose="020B0506020203020204" pitchFamily="34" charset="-52"/>
              </a:rPr>
              <a:t>Development of the industrial and logistics parks (new types of 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the joint infrastructures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8292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8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PT Sans Narrow" panose="020B0506020203020204" pitchFamily="34" charset="-52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8292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PT Sans Narrow" panose="020B0506020203020204" pitchFamily="34" charset="-52"/>
              </a:rPr>
              <a:t>Turn to the comfortable public transport development</a:t>
            </a:r>
            <a:endParaRPr kumimoji="0" lang="ru-RU" sz="18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PT Sans Narrow" panose="020B0506020203020204" pitchFamily="34" charset="-52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8292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8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PT Sans Narrow" panose="020B0506020203020204" pitchFamily="34" charset="-52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8292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PT Sans Narrow" panose="020B0506020203020204" pitchFamily="34" charset="-52"/>
              </a:rPr>
              <a:t>Formation of the comfortable and environmental city infrastructure</a:t>
            </a:r>
            <a:endParaRPr kumimoji="0" lang="ru-RU" sz="18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PT Sans Narrow" panose="020B0506020203020204" pitchFamily="34" charset="-52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82920"/>
              </a:buClr>
              <a:buSzTx/>
              <a:tabLst/>
              <a:defRPr/>
            </a:pPr>
            <a:endParaRPr kumimoji="0" lang="ru-RU" sz="18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PT Sans Narrow" panose="020B0506020203020204" pitchFamily="34" charset="-52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8292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PT Sans Narrow" panose="020B0506020203020204" pitchFamily="34" charset="-52"/>
              </a:rPr>
              <a:t>Application of the new ‘smart</a:t>
            </a:r>
            <a:r>
              <a:rPr lang="en-US" sz="18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506020203020204" pitchFamily="34" charset="-52"/>
              </a:rPr>
              <a:t>’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PT Sans Narrow" panose="020B0506020203020204" pitchFamily="34" charset="-52"/>
              </a:rPr>
              <a:t> technologies of the cities management </a:t>
            </a:r>
            <a:endParaRPr kumimoji="0" lang="ru-RU" sz="18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PT Sans Narrow" panose="020B0506020203020204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4113716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8</a:t>
            </a:fld>
            <a:endParaRPr lang="ru-RU"/>
          </a:p>
        </p:txBody>
      </p:sp>
      <p:sp>
        <p:nvSpPr>
          <p:cNvPr id="11" name="Полилиния 10"/>
          <p:cNvSpPr/>
          <p:nvPr/>
        </p:nvSpPr>
        <p:spPr>
          <a:xfrm>
            <a:off x="6718423" y="331336"/>
            <a:ext cx="4337812" cy="438410"/>
          </a:xfrm>
          <a:custGeom>
            <a:avLst/>
            <a:gdLst>
              <a:gd name="connsiteX0" fmla="*/ 76200 w 3352800"/>
              <a:gd name="connsiteY0" fmla="*/ 0 h 438150"/>
              <a:gd name="connsiteX1" fmla="*/ 3352800 w 3352800"/>
              <a:gd name="connsiteY1" fmla="*/ 9525 h 438150"/>
              <a:gd name="connsiteX2" fmla="*/ 3352800 w 3352800"/>
              <a:gd name="connsiteY2" fmla="*/ 438150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52800"/>
              <a:gd name="connsiteY0" fmla="*/ 0 h 438150"/>
              <a:gd name="connsiteX1" fmla="*/ 3343275 w 3352800"/>
              <a:gd name="connsiteY1" fmla="*/ 0 h 438150"/>
              <a:gd name="connsiteX2" fmla="*/ 3352800 w 3352800"/>
              <a:gd name="connsiteY2" fmla="*/ 438150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43275"/>
              <a:gd name="connsiteY0" fmla="*/ 0 h 438150"/>
              <a:gd name="connsiteX1" fmla="*/ 3343275 w 3343275"/>
              <a:gd name="connsiteY1" fmla="*/ 0 h 438150"/>
              <a:gd name="connsiteX2" fmla="*/ 3333750 w 3343275"/>
              <a:gd name="connsiteY2" fmla="*/ 438150 h 438150"/>
              <a:gd name="connsiteX3" fmla="*/ 0 w 3343275"/>
              <a:gd name="connsiteY3" fmla="*/ 438150 h 438150"/>
              <a:gd name="connsiteX4" fmla="*/ 76200 w 3343275"/>
              <a:gd name="connsiteY4" fmla="*/ 0 h 438150"/>
              <a:gd name="connsiteX0" fmla="*/ 76200 w 3352800"/>
              <a:gd name="connsiteY0" fmla="*/ 0 h 438150"/>
              <a:gd name="connsiteX1" fmla="*/ 3343275 w 3352800"/>
              <a:gd name="connsiteY1" fmla="*/ 0 h 438150"/>
              <a:gd name="connsiteX2" fmla="*/ 3352800 w 3352800"/>
              <a:gd name="connsiteY2" fmla="*/ 428625 h 438150"/>
              <a:gd name="connsiteX3" fmla="*/ 0 w 3352800"/>
              <a:gd name="connsiteY3" fmla="*/ 438150 h 438150"/>
              <a:gd name="connsiteX4" fmla="*/ 76200 w 3352800"/>
              <a:gd name="connsiteY4" fmla="*/ 0 h 438150"/>
              <a:gd name="connsiteX0" fmla="*/ 76200 w 3343275"/>
              <a:gd name="connsiteY0" fmla="*/ 0 h 447675"/>
              <a:gd name="connsiteX1" fmla="*/ 3343275 w 3343275"/>
              <a:gd name="connsiteY1" fmla="*/ 0 h 447675"/>
              <a:gd name="connsiteX2" fmla="*/ 3333750 w 3343275"/>
              <a:gd name="connsiteY2" fmla="*/ 447675 h 447675"/>
              <a:gd name="connsiteX3" fmla="*/ 0 w 3343275"/>
              <a:gd name="connsiteY3" fmla="*/ 438150 h 447675"/>
              <a:gd name="connsiteX4" fmla="*/ 76200 w 3343275"/>
              <a:gd name="connsiteY4" fmla="*/ 0 h 447675"/>
              <a:gd name="connsiteX0" fmla="*/ 76200 w 3343275"/>
              <a:gd name="connsiteY0" fmla="*/ 0 h 438150"/>
              <a:gd name="connsiteX1" fmla="*/ 3343275 w 3343275"/>
              <a:gd name="connsiteY1" fmla="*/ 0 h 438150"/>
              <a:gd name="connsiteX2" fmla="*/ 3343275 w 3343275"/>
              <a:gd name="connsiteY2" fmla="*/ 438150 h 438150"/>
              <a:gd name="connsiteX3" fmla="*/ 0 w 3343275"/>
              <a:gd name="connsiteY3" fmla="*/ 438150 h 438150"/>
              <a:gd name="connsiteX4" fmla="*/ 76200 w 3343275"/>
              <a:gd name="connsiteY4" fmla="*/ 0 h 438150"/>
              <a:gd name="connsiteX0" fmla="*/ 144439 w 3411514"/>
              <a:gd name="connsiteY0" fmla="*/ 0 h 438150"/>
              <a:gd name="connsiteX1" fmla="*/ 3411514 w 3411514"/>
              <a:gd name="connsiteY1" fmla="*/ 0 h 438150"/>
              <a:gd name="connsiteX2" fmla="*/ 3411514 w 3411514"/>
              <a:gd name="connsiteY2" fmla="*/ 438150 h 438150"/>
              <a:gd name="connsiteX3" fmla="*/ 0 w 3411514"/>
              <a:gd name="connsiteY3" fmla="*/ 438150 h 438150"/>
              <a:gd name="connsiteX4" fmla="*/ 144439 w 3411514"/>
              <a:gd name="connsiteY4" fmla="*/ 0 h 438150"/>
              <a:gd name="connsiteX0" fmla="*/ 117143 w 3384218"/>
              <a:gd name="connsiteY0" fmla="*/ 0 h 438150"/>
              <a:gd name="connsiteX1" fmla="*/ 3384218 w 3384218"/>
              <a:gd name="connsiteY1" fmla="*/ 0 h 438150"/>
              <a:gd name="connsiteX2" fmla="*/ 3384218 w 3384218"/>
              <a:gd name="connsiteY2" fmla="*/ 438150 h 438150"/>
              <a:gd name="connsiteX3" fmla="*/ 0 w 3384218"/>
              <a:gd name="connsiteY3" fmla="*/ 438150 h 438150"/>
              <a:gd name="connsiteX4" fmla="*/ 117143 w 3384218"/>
              <a:gd name="connsiteY4" fmla="*/ 0 h 438150"/>
              <a:gd name="connsiteX0" fmla="*/ 117143 w 4325913"/>
              <a:gd name="connsiteY0" fmla="*/ 0 h 438150"/>
              <a:gd name="connsiteX1" fmla="*/ 4325913 w 4325913"/>
              <a:gd name="connsiteY1" fmla="*/ 0 h 438150"/>
              <a:gd name="connsiteX2" fmla="*/ 3384218 w 4325913"/>
              <a:gd name="connsiteY2" fmla="*/ 438150 h 438150"/>
              <a:gd name="connsiteX3" fmla="*/ 0 w 4325913"/>
              <a:gd name="connsiteY3" fmla="*/ 438150 h 438150"/>
              <a:gd name="connsiteX4" fmla="*/ 117143 w 4325913"/>
              <a:gd name="connsiteY4" fmla="*/ 0 h 438150"/>
              <a:gd name="connsiteX0" fmla="*/ 117143 w 4325913"/>
              <a:gd name="connsiteY0" fmla="*/ 0 h 451798"/>
              <a:gd name="connsiteX1" fmla="*/ 4325913 w 4325913"/>
              <a:gd name="connsiteY1" fmla="*/ 0 h 451798"/>
              <a:gd name="connsiteX2" fmla="*/ 4312266 w 4325913"/>
              <a:gd name="connsiteY2" fmla="*/ 451798 h 451798"/>
              <a:gd name="connsiteX3" fmla="*/ 0 w 4325913"/>
              <a:gd name="connsiteY3" fmla="*/ 438150 h 451798"/>
              <a:gd name="connsiteX4" fmla="*/ 117143 w 4325913"/>
              <a:gd name="connsiteY4" fmla="*/ 0 h 451798"/>
              <a:gd name="connsiteX0" fmla="*/ 117143 w 4325914"/>
              <a:gd name="connsiteY0" fmla="*/ 0 h 438150"/>
              <a:gd name="connsiteX1" fmla="*/ 4325913 w 4325914"/>
              <a:gd name="connsiteY1" fmla="*/ 0 h 438150"/>
              <a:gd name="connsiteX2" fmla="*/ 4325914 w 4325914"/>
              <a:gd name="connsiteY2" fmla="*/ 438150 h 438150"/>
              <a:gd name="connsiteX3" fmla="*/ 0 w 4325914"/>
              <a:gd name="connsiteY3" fmla="*/ 438150 h 438150"/>
              <a:gd name="connsiteX4" fmla="*/ 117143 w 4325914"/>
              <a:gd name="connsiteY4" fmla="*/ 0 h 438150"/>
              <a:gd name="connsiteX0" fmla="*/ 117143 w 4339562"/>
              <a:gd name="connsiteY0" fmla="*/ 0 h 451797"/>
              <a:gd name="connsiteX1" fmla="*/ 4325913 w 4339562"/>
              <a:gd name="connsiteY1" fmla="*/ 0 h 451797"/>
              <a:gd name="connsiteX2" fmla="*/ 4339562 w 4339562"/>
              <a:gd name="connsiteY2" fmla="*/ 451797 h 451797"/>
              <a:gd name="connsiteX3" fmla="*/ 0 w 4339562"/>
              <a:gd name="connsiteY3" fmla="*/ 438150 h 451797"/>
              <a:gd name="connsiteX4" fmla="*/ 117143 w 4339562"/>
              <a:gd name="connsiteY4" fmla="*/ 0 h 451797"/>
              <a:gd name="connsiteX0" fmla="*/ 117143 w 4325913"/>
              <a:gd name="connsiteY0" fmla="*/ 0 h 451797"/>
              <a:gd name="connsiteX1" fmla="*/ 4325913 w 4325913"/>
              <a:gd name="connsiteY1" fmla="*/ 0 h 451797"/>
              <a:gd name="connsiteX2" fmla="*/ 4312266 w 4325913"/>
              <a:gd name="connsiteY2" fmla="*/ 451797 h 451797"/>
              <a:gd name="connsiteX3" fmla="*/ 0 w 4325913"/>
              <a:gd name="connsiteY3" fmla="*/ 438150 h 451797"/>
              <a:gd name="connsiteX4" fmla="*/ 117143 w 4325913"/>
              <a:gd name="connsiteY4" fmla="*/ 0 h 451797"/>
              <a:gd name="connsiteX0" fmla="*/ 117143 w 4325914"/>
              <a:gd name="connsiteY0" fmla="*/ 0 h 438150"/>
              <a:gd name="connsiteX1" fmla="*/ 4325913 w 4325914"/>
              <a:gd name="connsiteY1" fmla="*/ 0 h 438150"/>
              <a:gd name="connsiteX2" fmla="*/ 4325914 w 4325914"/>
              <a:gd name="connsiteY2" fmla="*/ 424502 h 438150"/>
              <a:gd name="connsiteX3" fmla="*/ 0 w 4325914"/>
              <a:gd name="connsiteY3" fmla="*/ 438150 h 438150"/>
              <a:gd name="connsiteX4" fmla="*/ 117143 w 4325914"/>
              <a:gd name="connsiteY4" fmla="*/ 0 h 438150"/>
              <a:gd name="connsiteX0" fmla="*/ 117143 w 4325913"/>
              <a:gd name="connsiteY0" fmla="*/ 0 h 438409"/>
              <a:gd name="connsiteX1" fmla="*/ 4325913 w 4325913"/>
              <a:gd name="connsiteY1" fmla="*/ 0 h 438409"/>
              <a:gd name="connsiteX2" fmla="*/ 4318960 w 4325913"/>
              <a:gd name="connsiteY2" fmla="*/ 438409 h 438409"/>
              <a:gd name="connsiteX3" fmla="*/ 0 w 4325913"/>
              <a:gd name="connsiteY3" fmla="*/ 438150 h 438409"/>
              <a:gd name="connsiteX4" fmla="*/ 117143 w 4325913"/>
              <a:gd name="connsiteY4" fmla="*/ 0 h 438409"/>
              <a:gd name="connsiteX0" fmla="*/ 154850 w 4325913"/>
              <a:gd name="connsiteY0" fmla="*/ 9427 h 438409"/>
              <a:gd name="connsiteX1" fmla="*/ 4325913 w 4325913"/>
              <a:gd name="connsiteY1" fmla="*/ 0 h 438409"/>
              <a:gd name="connsiteX2" fmla="*/ 4318960 w 4325913"/>
              <a:gd name="connsiteY2" fmla="*/ 438409 h 438409"/>
              <a:gd name="connsiteX3" fmla="*/ 0 w 4325913"/>
              <a:gd name="connsiteY3" fmla="*/ 438150 h 438409"/>
              <a:gd name="connsiteX4" fmla="*/ 154850 w 4325913"/>
              <a:gd name="connsiteY4" fmla="*/ 9427 h 438409"/>
              <a:gd name="connsiteX0" fmla="*/ 117143 w 4288206"/>
              <a:gd name="connsiteY0" fmla="*/ 9427 h 438409"/>
              <a:gd name="connsiteX1" fmla="*/ 4288206 w 4288206"/>
              <a:gd name="connsiteY1" fmla="*/ 0 h 438409"/>
              <a:gd name="connsiteX2" fmla="*/ 4281253 w 4288206"/>
              <a:gd name="connsiteY2" fmla="*/ 438409 h 438409"/>
              <a:gd name="connsiteX3" fmla="*/ 0 w 4288206"/>
              <a:gd name="connsiteY3" fmla="*/ 428723 h 438409"/>
              <a:gd name="connsiteX4" fmla="*/ 117143 w 4288206"/>
              <a:gd name="connsiteY4" fmla="*/ 9427 h 438409"/>
              <a:gd name="connsiteX0" fmla="*/ 126570 w 4288206"/>
              <a:gd name="connsiteY0" fmla="*/ 0 h 438409"/>
              <a:gd name="connsiteX1" fmla="*/ 4288206 w 4288206"/>
              <a:gd name="connsiteY1" fmla="*/ 0 h 438409"/>
              <a:gd name="connsiteX2" fmla="*/ 4281253 w 4288206"/>
              <a:gd name="connsiteY2" fmla="*/ 438409 h 438409"/>
              <a:gd name="connsiteX3" fmla="*/ 0 w 4288206"/>
              <a:gd name="connsiteY3" fmla="*/ 428723 h 438409"/>
              <a:gd name="connsiteX4" fmla="*/ 126570 w 4288206"/>
              <a:gd name="connsiteY4" fmla="*/ 0 h 438409"/>
              <a:gd name="connsiteX0" fmla="*/ 107716 w 4269352"/>
              <a:gd name="connsiteY0" fmla="*/ 0 h 438409"/>
              <a:gd name="connsiteX1" fmla="*/ 4269352 w 4269352"/>
              <a:gd name="connsiteY1" fmla="*/ 0 h 438409"/>
              <a:gd name="connsiteX2" fmla="*/ 4262399 w 4269352"/>
              <a:gd name="connsiteY2" fmla="*/ 438409 h 438409"/>
              <a:gd name="connsiteX3" fmla="*/ 0 w 4269352"/>
              <a:gd name="connsiteY3" fmla="*/ 428723 h 438409"/>
              <a:gd name="connsiteX4" fmla="*/ 107716 w 4269352"/>
              <a:gd name="connsiteY4" fmla="*/ 0 h 438409"/>
              <a:gd name="connsiteX0" fmla="*/ 126569 w 4288205"/>
              <a:gd name="connsiteY0" fmla="*/ 0 h 438409"/>
              <a:gd name="connsiteX1" fmla="*/ 4288205 w 4288205"/>
              <a:gd name="connsiteY1" fmla="*/ 0 h 438409"/>
              <a:gd name="connsiteX2" fmla="*/ 4281252 w 4288205"/>
              <a:gd name="connsiteY2" fmla="*/ 438409 h 438409"/>
              <a:gd name="connsiteX3" fmla="*/ 0 w 4288205"/>
              <a:gd name="connsiteY3" fmla="*/ 428723 h 438409"/>
              <a:gd name="connsiteX4" fmla="*/ 126569 w 4288205"/>
              <a:gd name="connsiteY4" fmla="*/ 0 h 438409"/>
              <a:gd name="connsiteX0" fmla="*/ 126569 w 4288205"/>
              <a:gd name="connsiteY0" fmla="*/ 0 h 438409"/>
              <a:gd name="connsiteX1" fmla="*/ 4288205 w 4288205"/>
              <a:gd name="connsiteY1" fmla="*/ 0 h 438409"/>
              <a:gd name="connsiteX2" fmla="*/ 4281252 w 4288205"/>
              <a:gd name="connsiteY2" fmla="*/ 438409 h 438409"/>
              <a:gd name="connsiteX3" fmla="*/ 0 w 4288205"/>
              <a:gd name="connsiteY3" fmla="*/ 428723 h 438409"/>
              <a:gd name="connsiteX4" fmla="*/ 126569 w 4288205"/>
              <a:gd name="connsiteY4" fmla="*/ 0 h 438409"/>
              <a:gd name="connsiteX0" fmla="*/ 135995 w 4297631"/>
              <a:gd name="connsiteY0" fmla="*/ 0 h 438409"/>
              <a:gd name="connsiteX1" fmla="*/ 4297631 w 4297631"/>
              <a:gd name="connsiteY1" fmla="*/ 0 h 438409"/>
              <a:gd name="connsiteX2" fmla="*/ 4290678 w 4297631"/>
              <a:gd name="connsiteY2" fmla="*/ 438409 h 438409"/>
              <a:gd name="connsiteX3" fmla="*/ 0 w 4297631"/>
              <a:gd name="connsiteY3" fmla="*/ 438150 h 438409"/>
              <a:gd name="connsiteX4" fmla="*/ 135995 w 4297631"/>
              <a:gd name="connsiteY4" fmla="*/ 0 h 438409"/>
              <a:gd name="connsiteX0" fmla="*/ 135995 w 4309531"/>
              <a:gd name="connsiteY0" fmla="*/ 0 h 438150"/>
              <a:gd name="connsiteX1" fmla="*/ 4297631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16484"/>
              <a:gd name="connsiteY0" fmla="*/ 0 h 438150"/>
              <a:gd name="connsiteX1" fmla="*/ 4316484 w 4316484"/>
              <a:gd name="connsiteY1" fmla="*/ 0 h 438150"/>
              <a:gd name="connsiteX2" fmla="*/ 4309531 w 4316484"/>
              <a:gd name="connsiteY2" fmla="*/ 428983 h 438150"/>
              <a:gd name="connsiteX3" fmla="*/ 0 w 4316484"/>
              <a:gd name="connsiteY3" fmla="*/ 438150 h 438150"/>
              <a:gd name="connsiteX4" fmla="*/ 135995 w 4316484"/>
              <a:gd name="connsiteY4" fmla="*/ 0 h 438150"/>
              <a:gd name="connsiteX0" fmla="*/ 135995 w 4309531"/>
              <a:gd name="connsiteY0" fmla="*/ 0 h 438150"/>
              <a:gd name="connsiteX1" fmla="*/ 4307057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09531"/>
              <a:gd name="connsiteY0" fmla="*/ 0 h 438150"/>
              <a:gd name="connsiteX1" fmla="*/ 4307057 w 4309531"/>
              <a:gd name="connsiteY1" fmla="*/ 0 h 438150"/>
              <a:gd name="connsiteX2" fmla="*/ 4309531 w 4309531"/>
              <a:gd name="connsiteY2" fmla="*/ 428983 h 438150"/>
              <a:gd name="connsiteX3" fmla="*/ 0 w 4309531"/>
              <a:gd name="connsiteY3" fmla="*/ 438150 h 438150"/>
              <a:gd name="connsiteX4" fmla="*/ 135995 w 4309531"/>
              <a:gd name="connsiteY4" fmla="*/ 0 h 438150"/>
              <a:gd name="connsiteX0" fmla="*/ 135995 w 4307057"/>
              <a:gd name="connsiteY0" fmla="*/ 0 h 438410"/>
              <a:gd name="connsiteX1" fmla="*/ 4307057 w 4307057"/>
              <a:gd name="connsiteY1" fmla="*/ 0 h 438410"/>
              <a:gd name="connsiteX2" fmla="*/ 4300104 w 4307057"/>
              <a:gd name="connsiteY2" fmla="*/ 438410 h 438410"/>
              <a:gd name="connsiteX3" fmla="*/ 0 w 4307057"/>
              <a:gd name="connsiteY3" fmla="*/ 438150 h 438410"/>
              <a:gd name="connsiteX4" fmla="*/ 135995 w 4307057"/>
              <a:gd name="connsiteY4" fmla="*/ 0 h 438410"/>
              <a:gd name="connsiteX0" fmla="*/ 135995 w 4300104"/>
              <a:gd name="connsiteY0" fmla="*/ 0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135995 w 4300104"/>
              <a:gd name="connsiteY4" fmla="*/ 0 h 438410"/>
              <a:gd name="connsiteX0" fmla="*/ 88861 w 4300104"/>
              <a:gd name="connsiteY0" fmla="*/ 9427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88861 w 4300104"/>
              <a:gd name="connsiteY4" fmla="*/ 9427 h 438410"/>
              <a:gd name="connsiteX0" fmla="*/ 88861 w 4300104"/>
              <a:gd name="connsiteY0" fmla="*/ 9427 h 438410"/>
              <a:gd name="connsiteX1" fmla="*/ 4298004 w 4300104"/>
              <a:gd name="connsiteY1" fmla="*/ 0 h 438410"/>
              <a:gd name="connsiteX2" fmla="*/ 4300104 w 4300104"/>
              <a:gd name="connsiteY2" fmla="*/ 438410 h 438410"/>
              <a:gd name="connsiteX3" fmla="*/ 0 w 4300104"/>
              <a:gd name="connsiteY3" fmla="*/ 438150 h 438410"/>
              <a:gd name="connsiteX4" fmla="*/ 88861 w 4300104"/>
              <a:gd name="connsiteY4" fmla="*/ 9427 h 438410"/>
              <a:gd name="connsiteX0" fmla="*/ 98288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98288 w 4309531"/>
              <a:gd name="connsiteY4" fmla="*/ 9427 h 438410"/>
              <a:gd name="connsiteX0" fmla="*/ 98288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98288 w 4309531"/>
              <a:gd name="connsiteY4" fmla="*/ 9427 h 438410"/>
              <a:gd name="connsiteX0" fmla="*/ 79434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9427 h 438410"/>
              <a:gd name="connsiteX0" fmla="*/ 79434 w 4309531"/>
              <a:gd name="connsiteY0" fmla="*/ 942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9427 h 438410"/>
              <a:gd name="connsiteX0" fmla="*/ 79434 w 4309531"/>
              <a:gd name="connsiteY0" fmla="*/ 4832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9434 w 4309531"/>
              <a:gd name="connsiteY4" fmla="*/ 4832 h 438410"/>
              <a:gd name="connsiteX0" fmla="*/ 88624 w 4309531"/>
              <a:gd name="connsiteY0" fmla="*/ 4832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88624 w 4309531"/>
              <a:gd name="connsiteY4" fmla="*/ 4832 h 438410"/>
              <a:gd name="connsiteX0" fmla="*/ 74839 w 4309531"/>
              <a:gd name="connsiteY0" fmla="*/ 237 h 438410"/>
              <a:gd name="connsiteX1" fmla="*/ 4307431 w 4309531"/>
              <a:gd name="connsiteY1" fmla="*/ 0 h 438410"/>
              <a:gd name="connsiteX2" fmla="*/ 4309531 w 4309531"/>
              <a:gd name="connsiteY2" fmla="*/ 438410 h 438410"/>
              <a:gd name="connsiteX3" fmla="*/ 0 w 4309531"/>
              <a:gd name="connsiteY3" fmla="*/ 438150 h 438410"/>
              <a:gd name="connsiteX4" fmla="*/ 74839 w 4309531"/>
              <a:gd name="connsiteY4" fmla="*/ 237 h 438410"/>
              <a:gd name="connsiteX0" fmla="*/ 103120 w 4337812"/>
              <a:gd name="connsiteY0" fmla="*/ 237 h 438410"/>
              <a:gd name="connsiteX1" fmla="*/ 4335712 w 4337812"/>
              <a:gd name="connsiteY1" fmla="*/ 0 h 438410"/>
              <a:gd name="connsiteX2" fmla="*/ 4337812 w 4337812"/>
              <a:gd name="connsiteY2" fmla="*/ 438410 h 438410"/>
              <a:gd name="connsiteX3" fmla="*/ 0 w 4337812"/>
              <a:gd name="connsiteY3" fmla="*/ 428723 h 438410"/>
              <a:gd name="connsiteX4" fmla="*/ 103120 w 4337812"/>
              <a:gd name="connsiteY4" fmla="*/ 237 h 438410"/>
              <a:gd name="connsiteX0" fmla="*/ 103120 w 4337812"/>
              <a:gd name="connsiteY0" fmla="*/ 237 h 447577"/>
              <a:gd name="connsiteX1" fmla="*/ 4335712 w 4337812"/>
              <a:gd name="connsiteY1" fmla="*/ 0 h 447577"/>
              <a:gd name="connsiteX2" fmla="*/ 4337812 w 4337812"/>
              <a:gd name="connsiteY2" fmla="*/ 438410 h 447577"/>
              <a:gd name="connsiteX3" fmla="*/ 0 w 4337812"/>
              <a:gd name="connsiteY3" fmla="*/ 447577 h 447577"/>
              <a:gd name="connsiteX4" fmla="*/ 103120 w 4337812"/>
              <a:gd name="connsiteY4" fmla="*/ 237 h 447577"/>
              <a:gd name="connsiteX0" fmla="*/ 103120 w 4337812"/>
              <a:gd name="connsiteY0" fmla="*/ 237 h 447577"/>
              <a:gd name="connsiteX1" fmla="*/ 4335712 w 4337812"/>
              <a:gd name="connsiteY1" fmla="*/ 0 h 447577"/>
              <a:gd name="connsiteX2" fmla="*/ 4337812 w 4337812"/>
              <a:gd name="connsiteY2" fmla="*/ 438410 h 447577"/>
              <a:gd name="connsiteX3" fmla="*/ 0 w 4337812"/>
              <a:gd name="connsiteY3" fmla="*/ 447577 h 447577"/>
              <a:gd name="connsiteX4" fmla="*/ 103120 w 4337812"/>
              <a:gd name="connsiteY4" fmla="*/ 237 h 447577"/>
              <a:gd name="connsiteX0" fmla="*/ 103120 w 4337812"/>
              <a:gd name="connsiteY0" fmla="*/ 237 h 438410"/>
              <a:gd name="connsiteX1" fmla="*/ 4335712 w 4337812"/>
              <a:gd name="connsiteY1" fmla="*/ 0 h 438410"/>
              <a:gd name="connsiteX2" fmla="*/ 4337812 w 4337812"/>
              <a:gd name="connsiteY2" fmla="*/ 438410 h 438410"/>
              <a:gd name="connsiteX3" fmla="*/ 0 w 4337812"/>
              <a:gd name="connsiteY3" fmla="*/ 438150 h 438410"/>
              <a:gd name="connsiteX4" fmla="*/ 103120 w 4337812"/>
              <a:gd name="connsiteY4" fmla="*/ 237 h 438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37812" h="438410">
                <a:moveTo>
                  <a:pt x="103120" y="237"/>
                </a:moveTo>
                <a:lnTo>
                  <a:pt x="4335712" y="0"/>
                </a:lnTo>
                <a:cubicBezTo>
                  <a:pt x="4335712" y="146050"/>
                  <a:pt x="4337812" y="292360"/>
                  <a:pt x="4337812" y="438410"/>
                </a:cubicBezTo>
                <a:lnTo>
                  <a:pt x="0" y="438150"/>
                </a:lnTo>
                <a:lnTo>
                  <a:pt x="103120" y="237"/>
                </a:lnTo>
                <a:close/>
              </a:path>
            </a:pathLst>
          </a:custGeom>
          <a:solidFill>
            <a:srgbClr val="3D49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</a:pPr>
            <a:r>
              <a:rPr lang="en-US" sz="1600" b="1" dirty="0">
                <a:solidFill>
                  <a:schemeClr val="bg1"/>
                </a:solidFill>
                <a:latin typeface="PT Sans Narrow" panose="020B0604020202020204" charset="-52"/>
              </a:rPr>
              <a:t>FREIGHT VILLAGE CONCEPT, EUROPEAN APPROACH </a:t>
            </a:r>
            <a:endParaRPr lang="ru-RU" sz="1600" b="1" dirty="0">
              <a:solidFill>
                <a:schemeClr val="bg1"/>
              </a:solidFill>
              <a:latin typeface="PT Sans Narrow" panose="020B0604020202020204" charset="-52"/>
            </a:endParaRPr>
          </a:p>
        </p:txBody>
      </p:sp>
      <p:sp>
        <p:nvSpPr>
          <p:cNvPr id="12" name="Полилиния 11"/>
          <p:cNvSpPr/>
          <p:nvPr/>
        </p:nvSpPr>
        <p:spPr>
          <a:xfrm>
            <a:off x="659" y="331336"/>
            <a:ext cx="695325" cy="2776047"/>
          </a:xfrm>
          <a:custGeom>
            <a:avLst/>
            <a:gdLst>
              <a:gd name="connsiteX0" fmla="*/ 0 w 657225"/>
              <a:gd name="connsiteY0" fmla="*/ 0 h 2162175"/>
              <a:gd name="connsiteX1" fmla="*/ 657225 w 657225"/>
              <a:gd name="connsiteY1" fmla="*/ 9525 h 2162175"/>
              <a:gd name="connsiteX2" fmla="*/ 19050 w 657225"/>
              <a:gd name="connsiteY2" fmla="*/ 2162175 h 2162175"/>
              <a:gd name="connsiteX3" fmla="*/ 0 w 657225"/>
              <a:gd name="connsiteY3" fmla="*/ 0 h 2162175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71357"/>
              <a:gd name="connsiteX1" fmla="*/ 657225 w 657225"/>
              <a:gd name="connsiteY1" fmla="*/ 9525 h 2171357"/>
              <a:gd name="connsiteX2" fmla="*/ 9525 w 657225"/>
              <a:gd name="connsiteY2" fmla="*/ 2171357 h 2171357"/>
              <a:gd name="connsiteX3" fmla="*/ 0 w 657225"/>
              <a:gd name="connsiteY3" fmla="*/ 0 h 2171357"/>
              <a:gd name="connsiteX0" fmla="*/ 0 w 657225"/>
              <a:gd name="connsiteY0" fmla="*/ 0 h 2152992"/>
              <a:gd name="connsiteX1" fmla="*/ 657225 w 657225"/>
              <a:gd name="connsiteY1" fmla="*/ 9525 h 2152992"/>
              <a:gd name="connsiteX2" fmla="*/ 0 w 657225"/>
              <a:gd name="connsiteY2" fmla="*/ 2152992 h 2152992"/>
              <a:gd name="connsiteX3" fmla="*/ 0 w 657225"/>
              <a:gd name="connsiteY3" fmla="*/ 0 h 2152992"/>
              <a:gd name="connsiteX0" fmla="*/ 0 w 657225"/>
              <a:gd name="connsiteY0" fmla="*/ 17738 h 2170730"/>
              <a:gd name="connsiteX1" fmla="*/ 657225 w 657225"/>
              <a:gd name="connsiteY1" fmla="*/ 0 h 2170730"/>
              <a:gd name="connsiteX2" fmla="*/ 0 w 657225"/>
              <a:gd name="connsiteY2" fmla="*/ 2170730 h 2170730"/>
              <a:gd name="connsiteX3" fmla="*/ 0 w 657225"/>
              <a:gd name="connsiteY3" fmla="*/ 17738 h 2170730"/>
              <a:gd name="connsiteX0" fmla="*/ 0 w 657225"/>
              <a:gd name="connsiteY0" fmla="*/ 0 h 2171168"/>
              <a:gd name="connsiteX1" fmla="*/ 657225 w 657225"/>
              <a:gd name="connsiteY1" fmla="*/ 438 h 2171168"/>
              <a:gd name="connsiteX2" fmla="*/ 0 w 657225"/>
              <a:gd name="connsiteY2" fmla="*/ 2171168 h 2171168"/>
              <a:gd name="connsiteX3" fmla="*/ 0 w 657225"/>
              <a:gd name="connsiteY3" fmla="*/ 0 h 2171168"/>
              <a:gd name="connsiteX0" fmla="*/ 0 w 695325"/>
              <a:gd name="connsiteY0" fmla="*/ 0 h 2171168"/>
              <a:gd name="connsiteX1" fmla="*/ 695325 w 695325"/>
              <a:gd name="connsiteY1" fmla="*/ 438 h 2171168"/>
              <a:gd name="connsiteX2" fmla="*/ 0 w 695325"/>
              <a:gd name="connsiteY2" fmla="*/ 2171168 h 2171168"/>
              <a:gd name="connsiteX3" fmla="*/ 0 w 695325"/>
              <a:gd name="connsiteY3" fmla="*/ 0 h 2171168"/>
              <a:gd name="connsiteX0" fmla="*/ 9525 w 704850"/>
              <a:gd name="connsiteY0" fmla="*/ 0 h 2676201"/>
              <a:gd name="connsiteX1" fmla="*/ 704850 w 704850"/>
              <a:gd name="connsiteY1" fmla="*/ 438 h 2676201"/>
              <a:gd name="connsiteX2" fmla="*/ 0 w 704850"/>
              <a:gd name="connsiteY2" fmla="*/ 2676201 h 2676201"/>
              <a:gd name="connsiteX3" fmla="*/ 9525 w 704850"/>
              <a:gd name="connsiteY3" fmla="*/ 0 h 2676201"/>
              <a:gd name="connsiteX0" fmla="*/ 0 w 695325"/>
              <a:gd name="connsiteY0" fmla="*/ 0 h 2667019"/>
              <a:gd name="connsiteX1" fmla="*/ 695325 w 695325"/>
              <a:gd name="connsiteY1" fmla="*/ 438 h 2667019"/>
              <a:gd name="connsiteX2" fmla="*/ 9525 w 695325"/>
              <a:gd name="connsiteY2" fmla="*/ 2667019 h 2667019"/>
              <a:gd name="connsiteX3" fmla="*/ 0 w 695325"/>
              <a:gd name="connsiteY3" fmla="*/ 0 h 2667019"/>
              <a:gd name="connsiteX0" fmla="*/ 0 w 695325"/>
              <a:gd name="connsiteY0" fmla="*/ 0 h 2667019"/>
              <a:gd name="connsiteX1" fmla="*/ 695325 w 695325"/>
              <a:gd name="connsiteY1" fmla="*/ 438 h 2667019"/>
              <a:gd name="connsiteX2" fmla="*/ 9525 w 695325"/>
              <a:gd name="connsiteY2" fmla="*/ 2667019 h 2667019"/>
              <a:gd name="connsiteX3" fmla="*/ 0 w 695325"/>
              <a:gd name="connsiteY3" fmla="*/ 0 h 2667019"/>
              <a:gd name="connsiteX0" fmla="*/ 0 w 695325"/>
              <a:gd name="connsiteY0" fmla="*/ 0 h 2676201"/>
              <a:gd name="connsiteX1" fmla="*/ 695325 w 695325"/>
              <a:gd name="connsiteY1" fmla="*/ 438 h 2676201"/>
              <a:gd name="connsiteX2" fmla="*/ 0 w 695325"/>
              <a:gd name="connsiteY2" fmla="*/ 2676201 h 2676201"/>
              <a:gd name="connsiteX3" fmla="*/ 0 w 695325"/>
              <a:gd name="connsiteY3" fmla="*/ 0 h 2676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325" h="2676201">
                <a:moveTo>
                  <a:pt x="0" y="0"/>
                </a:moveTo>
                <a:lnTo>
                  <a:pt x="695325" y="438"/>
                </a:lnTo>
                <a:lnTo>
                  <a:pt x="0" y="2676201"/>
                </a:lnTo>
                <a:lnTo>
                  <a:pt x="0" y="0"/>
                </a:lnTo>
                <a:close/>
              </a:path>
            </a:pathLst>
          </a:custGeom>
          <a:solidFill>
            <a:srgbClr val="9829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Полилиния 12"/>
          <p:cNvSpPr/>
          <p:nvPr/>
        </p:nvSpPr>
        <p:spPr>
          <a:xfrm>
            <a:off x="0" y="0"/>
            <a:ext cx="428625" cy="1743075"/>
          </a:xfrm>
          <a:custGeom>
            <a:avLst/>
            <a:gdLst>
              <a:gd name="connsiteX0" fmla="*/ 0 w 447675"/>
              <a:gd name="connsiteY0" fmla="*/ 0 h 1447800"/>
              <a:gd name="connsiteX1" fmla="*/ 447675 w 447675"/>
              <a:gd name="connsiteY1" fmla="*/ 0 h 1447800"/>
              <a:gd name="connsiteX2" fmla="*/ 19050 w 447675"/>
              <a:gd name="connsiteY2" fmla="*/ 1447800 h 1447800"/>
              <a:gd name="connsiteX3" fmla="*/ 0 w 447675"/>
              <a:gd name="connsiteY3" fmla="*/ 0 h 1447800"/>
              <a:gd name="connsiteX0" fmla="*/ 0 w 447675"/>
              <a:gd name="connsiteY0" fmla="*/ 0 h 1476375"/>
              <a:gd name="connsiteX1" fmla="*/ 447675 w 447675"/>
              <a:gd name="connsiteY1" fmla="*/ 0 h 1476375"/>
              <a:gd name="connsiteX2" fmla="*/ 9525 w 447675"/>
              <a:gd name="connsiteY2" fmla="*/ 1476375 h 1476375"/>
              <a:gd name="connsiteX3" fmla="*/ 0 w 447675"/>
              <a:gd name="connsiteY3" fmla="*/ 0 h 1476375"/>
              <a:gd name="connsiteX0" fmla="*/ 0 w 438150"/>
              <a:gd name="connsiteY0" fmla="*/ 28575 h 1476375"/>
              <a:gd name="connsiteX1" fmla="*/ 438150 w 438150"/>
              <a:gd name="connsiteY1" fmla="*/ 0 h 1476375"/>
              <a:gd name="connsiteX2" fmla="*/ 0 w 438150"/>
              <a:gd name="connsiteY2" fmla="*/ 1476375 h 1476375"/>
              <a:gd name="connsiteX3" fmla="*/ 0 w 438150"/>
              <a:gd name="connsiteY3" fmla="*/ 28575 h 1476375"/>
              <a:gd name="connsiteX0" fmla="*/ 9525 w 438150"/>
              <a:gd name="connsiteY0" fmla="*/ 9525 h 1476375"/>
              <a:gd name="connsiteX1" fmla="*/ 438150 w 438150"/>
              <a:gd name="connsiteY1" fmla="*/ 0 h 1476375"/>
              <a:gd name="connsiteX2" fmla="*/ 0 w 438150"/>
              <a:gd name="connsiteY2" fmla="*/ 1476375 h 1476375"/>
              <a:gd name="connsiteX3" fmla="*/ 9525 w 438150"/>
              <a:gd name="connsiteY3" fmla="*/ 9525 h 1476375"/>
              <a:gd name="connsiteX0" fmla="*/ 0 w 428625"/>
              <a:gd name="connsiteY0" fmla="*/ 9525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0 w 428625"/>
              <a:gd name="connsiteY3" fmla="*/ 9525 h 1504950"/>
              <a:gd name="connsiteX0" fmla="*/ 19050 w 428625"/>
              <a:gd name="connsiteY0" fmla="*/ 0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19050 w 428625"/>
              <a:gd name="connsiteY3" fmla="*/ 0 h 1504950"/>
              <a:gd name="connsiteX0" fmla="*/ 0 w 428625"/>
              <a:gd name="connsiteY0" fmla="*/ 0 h 1504950"/>
              <a:gd name="connsiteX1" fmla="*/ 428625 w 428625"/>
              <a:gd name="connsiteY1" fmla="*/ 0 h 1504950"/>
              <a:gd name="connsiteX2" fmla="*/ 0 w 428625"/>
              <a:gd name="connsiteY2" fmla="*/ 1504950 h 1504950"/>
              <a:gd name="connsiteX3" fmla="*/ 0 w 428625"/>
              <a:gd name="connsiteY3" fmla="*/ 0 h 1504950"/>
              <a:gd name="connsiteX0" fmla="*/ 0 w 428625"/>
              <a:gd name="connsiteY0" fmla="*/ 0 h 1581150"/>
              <a:gd name="connsiteX1" fmla="*/ 428625 w 428625"/>
              <a:gd name="connsiteY1" fmla="*/ 0 h 1581150"/>
              <a:gd name="connsiteX2" fmla="*/ 0 w 428625"/>
              <a:gd name="connsiteY2" fmla="*/ 1581150 h 1581150"/>
              <a:gd name="connsiteX3" fmla="*/ 0 w 428625"/>
              <a:gd name="connsiteY3" fmla="*/ 0 h 1581150"/>
              <a:gd name="connsiteX0" fmla="*/ 0 w 428625"/>
              <a:gd name="connsiteY0" fmla="*/ 0 h 1743075"/>
              <a:gd name="connsiteX1" fmla="*/ 428625 w 428625"/>
              <a:gd name="connsiteY1" fmla="*/ 0 h 1743075"/>
              <a:gd name="connsiteX2" fmla="*/ 0 w 428625"/>
              <a:gd name="connsiteY2" fmla="*/ 1743075 h 1743075"/>
              <a:gd name="connsiteX3" fmla="*/ 0 w 428625"/>
              <a:gd name="connsiteY3" fmla="*/ 0 h 1743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8625" h="1743075">
                <a:moveTo>
                  <a:pt x="0" y="0"/>
                </a:moveTo>
                <a:lnTo>
                  <a:pt x="428625" y="0"/>
                </a:lnTo>
                <a:lnTo>
                  <a:pt x="0" y="1743075"/>
                </a:lnTo>
                <a:lnTo>
                  <a:pt x="0" y="0"/>
                </a:lnTo>
                <a:close/>
              </a:path>
            </a:pathLst>
          </a:custGeom>
          <a:solidFill>
            <a:srgbClr val="6E6B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4">
            <a:extLst>
              <a:ext uri="{FF2B5EF4-FFF2-40B4-BE49-F238E27FC236}">
                <a16:creationId xmlns:a16="http://schemas.microsoft.com/office/drawing/2014/main" id="{1396CF09-50C6-49EC-A7F2-FBDD0882033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978" y="1960710"/>
            <a:ext cx="2478182" cy="2940459"/>
          </a:xfrm>
          <a:prstGeom prst="rect">
            <a:avLst/>
          </a:prstGeom>
          <a:effectLst>
            <a:outerShdw blurRad="165100" dist="50800" dir="5400000" sx="108000" sy="108000" algn="ctr" rotWithShape="0">
              <a:srgbClr val="000000">
                <a:alpha val="33000"/>
              </a:srgbClr>
            </a:outerShdw>
          </a:effectLst>
        </p:spPr>
      </p:pic>
      <p:sp>
        <p:nvSpPr>
          <p:cNvPr id="8" name="Rectangle 11">
            <a:extLst>
              <a:ext uri="{FF2B5EF4-FFF2-40B4-BE49-F238E27FC236}">
                <a16:creationId xmlns:a16="http://schemas.microsoft.com/office/drawing/2014/main" id="{322F7B17-7CA9-4997-BEF7-FBD77D5302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4248" y="1741038"/>
            <a:ext cx="2254129" cy="1361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896930">
              <a:spcAft>
                <a:spcPts val="496"/>
              </a:spcAft>
            </a:pPr>
            <a:r>
              <a:rPr lang="en-US" sz="1400" b="1" u="sng" dirty="0">
                <a:solidFill>
                  <a:srgbClr val="C0504D">
                    <a:lumMod val="75000"/>
                  </a:srgbClr>
                </a:solidFill>
                <a:latin typeface="PT Sans Narrow" panose="020B0506020203020204" pitchFamily="34" charset="-52"/>
              </a:rPr>
              <a:t>ITALY</a:t>
            </a:r>
            <a:r>
              <a:rPr lang="ru-RU" sz="1400" b="1" u="sng" dirty="0">
                <a:solidFill>
                  <a:srgbClr val="C0504D">
                    <a:lumMod val="75000"/>
                  </a:srgbClr>
                </a:solidFill>
                <a:latin typeface="PT Sans Narrow" panose="020B0506020203020204" pitchFamily="34" charset="-52"/>
              </a:rPr>
              <a:t> </a:t>
            </a:r>
          </a:p>
          <a:p>
            <a:pPr marL="141823" indent="-141823" defTabSz="896930">
              <a:spcAft>
                <a:spcPts val="496"/>
              </a:spcAft>
              <a:buFont typeface="Wingdings" charset="2"/>
              <a:buChar char="§"/>
            </a:pPr>
            <a:r>
              <a:rPr lang="en-US" sz="1400" dirty="0">
                <a:solidFill>
                  <a:srgbClr val="1F497D">
                    <a:lumMod val="50000"/>
                  </a:srgbClr>
                </a:solidFill>
                <a:latin typeface="PT Sans Narrow" panose="020B0506020203020204" pitchFamily="34" charset="-52"/>
              </a:rPr>
              <a:t>More than 25 freight villages</a:t>
            </a:r>
            <a:endParaRPr lang="ru-RU" sz="1400" dirty="0">
              <a:solidFill>
                <a:srgbClr val="1F497D">
                  <a:lumMod val="50000"/>
                </a:srgbClr>
              </a:solidFill>
              <a:latin typeface="PT Sans Narrow" panose="020B0506020203020204" pitchFamily="34" charset="-52"/>
            </a:endParaRPr>
          </a:p>
          <a:p>
            <a:pPr marL="141823" indent="-141823" defTabSz="896930">
              <a:spcAft>
                <a:spcPts val="496"/>
              </a:spcAft>
              <a:buFont typeface="Wingdings" charset="2"/>
              <a:buChar char="§"/>
            </a:pPr>
            <a:r>
              <a:rPr lang="en-US" sz="1400" dirty="0">
                <a:solidFill>
                  <a:srgbClr val="1F497D">
                    <a:lumMod val="50000"/>
                  </a:srgbClr>
                </a:solidFill>
                <a:latin typeface="PT Sans Narrow" panose="020B0506020203020204" pitchFamily="34" charset="-52"/>
              </a:rPr>
              <a:t>More than 1,000 transport companies – residents </a:t>
            </a:r>
            <a:endParaRPr lang="ru-RU" sz="1400" dirty="0">
              <a:solidFill>
                <a:srgbClr val="1F497D">
                  <a:lumMod val="50000"/>
                </a:srgbClr>
              </a:solidFill>
              <a:latin typeface="PT Sans Narrow" panose="020B0506020203020204" pitchFamily="34" charset="-52"/>
            </a:endParaRPr>
          </a:p>
          <a:p>
            <a:pPr marL="141823" indent="-141823" defTabSz="896930">
              <a:spcAft>
                <a:spcPts val="496"/>
              </a:spcAft>
              <a:buFont typeface="Wingdings" charset="2"/>
              <a:buChar char="§"/>
            </a:pPr>
            <a:r>
              <a:rPr lang="ru-RU" sz="1400" dirty="0">
                <a:solidFill>
                  <a:srgbClr val="1F497D">
                    <a:lumMod val="50000"/>
                  </a:srgbClr>
                </a:solidFill>
                <a:latin typeface="PT Sans Narrow" panose="020B0506020203020204" pitchFamily="34" charset="-52"/>
              </a:rPr>
              <a:t>38</a:t>
            </a:r>
            <a:r>
              <a:rPr lang="en-US" sz="1400" dirty="0">
                <a:solidFill>
                  <a:srgbClr val="1F497D">
                    <a:lumMod val="50000"/>
                  </a:srgbClr>
                </a:solidFill>
                <a:latin typeface="PT Sans Narrow" panose="020B0506020203020204" pitchFamily="34" charset="-52"/>
              </a:rPr>
              <a:t>,</a:t>
            </a:r>
            <a:r>
              <a:rPr lang="ru-RU" sz="1400" dirty="0">
                <a:solidFill>
                  <a:srgbClr val="1F497D">
                    <a:lumMod val="50000"/>
                  </a:srgbClr>
                </a:solidFill>
                <a:latin typeface="PT Sans Narrow" panose="020B0506020203020204" pitchFamily="34" charset="-52"/>
              </a:rPr>
              <a:t>000 </a:t>
            </a:r>
            <a:r>
              <a:rPr lang="en-US" sz="1400" dirty="0">
                <a:solidFill>
                  <a:srgbClr val="1F497D">
                    <a:lumMod val="50000"/>
                  </a:srgbClr>
                </a:solidFill>
                <a:latin typeface="PT Sans Narrow" panose="020B0506020203020204" pitchFamily="34" charset="-52"/>
              </a:rPr>
              <a:t>people employed</a:t>
            </a: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EA52CF57-5B4A-462C-A7CF-7B4ECBC3D1E3}"/>
              </a:ext>
            </a:extLst>
          </p:cNvPr>
          <p:cNvGrpSpPr/>
          <p:nvPr/>
        </p:nvGrpSpPr>
        <p:grpSpPr>
          <a:xfrm>
            <a:off x="5237237" y="1943532"/>
            <a:ext cx="2734197" cy="3129916"/>
            <a:chOff x="4139952" y="1010121"/>
            <a:chExt cx="3600400" cy="4121484"/>
          </a:xfrm>
        </p:grpSpPr>
        <p:pic>
          <p:nvPicPr>
            <p:cNvPr id="10" name="Picture 17" descr="карты">
              <a:extLst>
                <a:ext uri="{FF2B5EF4-FFF2-40B4-BE49-F238E27FC236}">
                  <a16:creationId xmlns:a16="http://schemas.microsoft.com/office/drawing/2014/main" id="{1C147778-837D-4FFB-AE77-7251A3AC530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/>
            <a:srcRect l="1" t="14559" r="52358" b="5379"/>
            <a:stretch/>
          </p:blipFill>
          <p:spPr bwMode="auto">
            <a:xfrm>
              <a:off x="4139952" y="1010121"/>
              <a:ext cx="3263279" cy="41214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34E843CD-4C3B-43D3-8E23-1428F7BF8DF3}"/>
                </a:ext>
              </a:extLst>
            </p:cNvPr>
            <p:cNvSpPr/>
            <p:nvPr/>
          </p:nvSpPr>
          <p:spPr>
            <a:xfrm>
              <a:off x="7092280" y="3789040"/>
              <a:ext cx="648072" cy="504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930"/>
              <a:endParaRPr lang="ru-RU" sz="993">
                <a:solidFill>
                  <a:srgbClr val="1F497D">
                    <a:lumMod val="50000"/>
                  </a:srgbClr>
                </a:solidFill>
                <a:latin typeface="PT Sans Narrow" panose="020B0506020203020204" pitchFamily="34" charset="-52"/>
              </a:endParaRPr>
            </a:p>
          </p:txBody>
        </p:sp>
      </p:grpSp>
      <p:sp>
        <p:nvSpPr>
          <p:cNvPr id="15" name="Rectangle 11">
            <a:extLst>
              <a:ext uri="{FF2B5EF4-FFF2-40B4-BE49-F238E27FC236}">
                <a16:creationId xmlns:a16="http://schemas.microsoft.com/office/drawing/2014/main" id="{9AAC0AF6-5E7D-4A12-A95E-C570DB773F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14788" y="1748822"/>
            <a:ext cx="2436629" cy="164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896930">
              <a:spcAft>
                <a:spcPts val="496"/>
              </a:spcAft>
            </a:pPr>
            <a:r>
              <a:rPr lang="en-US" sz="1400" b="1" u="sng" dirty="0">
                <a:solidFill>
                  <a:srgbClr val="953735"/>
                </a:solidFill>
                <a:latin typeface="PT Sans Narrow" panose="020B0506020203020204" pitchFamily="34" charset="-52"/>
              </a:rPr>
              <a:t>GERMANY</a:t>
            </a:r>
            <a:r>
              <a:rPr lang="ru-RU" sz="1400" b="1" u="sng" dirty="0">
                <a:solidFill>
                  <a:srgbClr val="953735"/>
                </a:solidFill>
                <a:latin typeface="PT Sans Narrow" panose="020B0506020203020204" pitchFamily="34" charset="-52"/>
              </a:rPr>
              <a:t> </a:t>
            </a:r>
          </a:p>
          <a:p>
            <a:pPr marL="141823" indent="-141823" defTabSz="896930">
              <a:spcAft>
                <a:spcPts val="496"/>
              </a:spcAft>
              <a:buFont typeface="Wingdings" charset="2"/>
              <a:buChar char="§"/>
            </a:pPr>
            <a:r>
              <a:rPr lang="en-US" sz="1400" dirty="0">
                <a:solidFill>
                  <a:srgbClr val="1F497D">
                    <a:lumMod val="50000"/>
                  </a:srgbClr>
                </a:solidFill>
                <a:latin typeface="PT Sans Narrow" panose="020B0506020203020204" pitchFamily="34" charset="-52"/>
              </a:rPr>
              <a:t>More than 30 freight villages</a:t>
            </a:r>
            <a:endParaRPr lang="ru-RU" sz="1400" dirty="0">
              <a:solidFill>
                <a:srgbClr val="1F497D">
                  <a:lumMod val="50000"/>
                </a:srgbClr>
              </a:solidFill>
              <a:latin typeface="PT Sans Narrow" panose="020B0506020203020204" pitchFamily="34" charset="-52"/>
            </a:endParaRPr>
          </a:p>
          <a:p>
            <a:pPr marL="141823" indent="-141823" defTabSz="896930">
              <a:spcAft>
                <a:spcPts val="496"/>
              </a:spcAft>
              <a:buFont typeface="Wingdings" charset="2"/>
              <a:buChar char="§"/>
            </a:pPr>
            <a:r>
              <a:rPr lang="en-US" sz="1400" dirty="0">
                <a:solidFill>
                  <a:srgbClr val="1F497D">
                    <a:lumMod val="50000"/>
                  </a:srgbClr>
                </a:solidFill>
                <a:latin typeface="PT Sans Narrow" panose="020B0506020203020204" pitchFamily="34" charset="-52"/>
              </a:rPr>
              <a:t>Integration into the joint network</a:t>
            </a:r>
            <a:endParaRPr lang="ru-RU" sz="1400" dirty="0">
              <a:solidFill>
                <a:srgbClr val="1F497D">
                  <a:lumMod val="50000"/>
                </a:srgbClr>
              </a:solidFill>
              <a:latin typeface="PT Sans Narrow" panose="020B0506020203020204" pitchFamily="34" charset="-52"/>
            </a:endParaRPr>
          </a:p>
          <a:p>
            <a:pPr marL="141823" indent="-141823" defTabSz="896930">
              <a:spcAft>
                <a:spcPts val="496"/>
              </a:spcAft>
              <a:buFont typeface="Wingdings" charset="2"/>
              <a:buChar char="§"/>
            </a:pPr>
            <a:r>
              <a:rPr lang="en-US" sz="1400" dirty="0">
                <a:solidFill>
                  <a:srgbClr val="1F497D">
                    <a:lumMod val="50000"/>
                  </a:srgbClr>
                </a:solidFill>
                <a:latin typeface="PT Sans Narrow" panose="020B0506020203020204" pitchFamily="34" charset="-52"/>
              </a:rPr>
              <a:t>Outside the cities</a:t>
            </a:r>
            <a:endParaRPr lang="ru-RU" sz="1400" dirty="0">
              <a:solidFill>
                <a:srgbClr val="1F497D">
                  <a:lumMod val="50000"/>
                </a:srgbClr>
              </a:solidFill>
              <a:latin typeface="PT Sans Narrow" panose="020B0506020203020204" pitchFamily="34" charset="-52"/>
            </a:endParaRPr>
          </a:p>
          <a:p>
            <a:pPr marL="141823" indent="-141823" defTabSz="896930">
              <a:spcAft>
                <a:spcPts val="496"/>
              </a:spcAft>
              <a:buFont typeface="Wingdings" charset="2"/>
              <a:buChar char="§"/>
            </a:pPr>
            <a:r>
              <a:rPr lang="en-US" sz="1400" dirty="0">
                <a:solidFill>
                  <a:srgbClr val="1F497D">
                    <a:lumMod val="50000"/>
                  </a:srgbClr>
                </a:solidFill>
                <a:latin typeface="PT Sans Narrow" panose="020B0506020203020204" pitchFamily="34" charset="-52"/>
              </a:rPr>
              <a:t>Situated on the cross-points of the main transport routes</a:t>
            </a:r>
            <a:endParaRPr lang="ru-RU" sz="1400" dirty="0">
              <a:solidFill>
                <a:srgbClr val="1F497D">
                  <a:lumMod val="50000"/>
                </a:srgbClr>
              </a:solidFill>
              <a:latin typeface="PT Sans Narrow" panose="020B0506020203020204" pitchFamily="34" charset="-52"/>
            </a:endParaRPr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34E9675C-6FE4-40F5-82E2-2537C67A71DB}"/>
              </a:ext>
            </a:extLst>
          </p:cNvPr>
          <p:cNvGrpSpPr/>
          <p:nvPr/>
        </p:nvGrpSpPr>
        <p:grpSpPr>
          <a:xfrm>
            <a:off x="4278743" y="5547427"/>
            <a:ext cx="2772106" cy="1355982"/>
            <a:chOff x="6075760" y="4797155"/>
            <a:chExt cx="2849540" cy="1216998"/>
          </a:xfrm>
        </p:grpSpPr>
        <p:pic>
          <p:nvPicPr>
            <p:cNvPr id="18" name="Picture 17" descr="карты">
              <a:extLst>
                <a:ext uri="{FF2B5EF4-FFF2-40B4-BE49-F238E27FC236}">
                  <a16:creationId xmlns:a16="http://schemas.microsoft.com/office/drawing/2014/main" id="{A9705468-9E83-4F97-92C9-67EC3A1F611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/>
            <a:srcRect l="43346" t="64845" r="38943" b="19086"/>
            <a:stretch/>
          </p:blipFill>
          <p:spPr bwMode="auto">
            <a:xfrm>
              <a:off x="6516215" y="4797157"/>
              <a:ext cx="1704775" cy="11623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9" name="TextBox 6">
              <a:extLst>
                <a:ext uri="{FF2B5EF4-FFF2-40B4-BE49-F238E27FC236}">
                  <a16:creationId xmlns:a16="http://schemas.microsoft.com/office/drawing/2014/main" id="{B033D5FB-5353-4952-981C-FF68619EB1F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75760" y="5013182"/>
              <a:ext cx="687454" cy="2071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defTabSz="896930"/>
              <a:r>
                <a:rPr lang="en-US" sz="900" b="1" dirty="0">
                  <a:solidFill>
                    <a:srgbClr val="1F497D">
                      <a:lumMod val="50000"/>
                    </a:srgbClr>
                  </a:solidFill>
                  <a:latin typeface="PT Sans Narrow" panose="020B0506020203020204" pitchFamily="34" charset="-52"/>
                </a:rPr>
                <a:t>Berlin-West</a:t>
              </a:r>
              <a:endParaRPr lang="ru-RU" sz="900" b="1" dirty="0">
                <a:solidFill>
                  <a:srgbClr val="1F497D">
                    <a:lumMod val="50000"/>
                  </a:srgbClr>
                </a:solidFill>
                <a:latin typeface="PT Sans Narrow" panose="020B0506020203020204" pitchFamily="34" charset="-52"/>
              </a:endParaRPr>
            </a:p>
          </p:txBody>
        </p:sp>
        <p:sp>
          <p:nvSpPr>
            <p:cNvPr id="20" name="TextBox 6">
              <a:extLst>
                <a:ext uri="{FF2B5EF4-FFF2-40B4-BE49-F238E27FC236}">
                  <a16:creationId xmlns:a16="http://schemas.microsoft.com/office/drawing/2014/main" id="{0636D542-2B55-479A-99C8-2687688B3DB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86031" y="5517818"/>
              <a:ext cx="616600" cy="2071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defTabSz="896930"/>
              <a:r>
                <a:rPr lang="en-US" sz="900" b="1" dirty="0">
                  <a:solidFill>
                    <a:srgbClr val="1F497D">
                      <a:lumMod val="50000"/>
                    </a:srgbClr>
                  </a:solidFill>
                  <a:latin typeface="PT Sans Narrow" panose="020B0506020203020204" pitchFamily="34" charset="-52"/>
                </a:rPr>
                <a:t>Berlin-</a:t>
              </a:r>
              <a:r>
                <a:rPr lang="en-US" sz="900" b="1" dirty="0" err="1">
                  <a:solidFill>
                    <a:srgbClr val="1F497D">
                      <a:lumMod val="50000"/>
                    </a:srgbClr>
                  </a:solidFill>
                  <a:latin typeface="PT Sans Narrow" panose="020B0506020203020204" pitchFamily="34" charset="-52"/>
                </a:rPr>
                <a:t>Ost</a:t>
              </a:r>
              <a:endParaRPr lang="ru-RU" sz="900" b="1" dirty="0">
                <a:solidFill>
                  <a:srgbClr val="1F497D">
                    <a:lumMod val="50000"/>
                  </a:srgbClr>
                </a:solidFill>
                <a:latin typeface="PT Sans Narrow" panose="020B0506020203020204" pitchFamily="34" charset="-52"/>
              </a:endParaRPr>
            </a:p>
          </p:txBody>
        </p:sp>
        <p:sp>
          <p:nvSpPr>
            <p:cNvPr id="21" name="TextBox 6">
              <a:extLst>
                <a:ext uri="{FF2B5EF4-FFF2-40B4-BE49-F238E27FC236}">
                  <a16:creationId xmlns:a16="http://schemas.microsoft.com/office/drawing/2014/main" id="{BC60FF69-F4E0-4964-B0F2-224373BD2C6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32241" y="5806981"/>
              <a:ext cx="631429" cy="2071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defTabSz="896930"/>
              <a:r>
                <a:rPr lang="en-US" sz="900" b="1" dirty="0">
                  <a:solidFill>
                    <a:srgbClr val="1F497D">
                      <a:lumMod val="50000"/>
                    </a:srgbClr>
                  </a:solidFill>
                  <a:latin typeface="PT Sans Narrow" panose="020B0506020203020204" pitchFamily="34" charset="-52"/>
                </a:rPr>
                <a:t>Berlin-</a:t>
              </a:r>
              <a:r>
                <a:rPr lang="en-US" sz="900" b="1" dirty="0" err="1">
                  <a:solidFill>
                    <a:srgbClr val="1F497D">
                      <a:lumMod val="50000"/>
                    </a:srgbClr>
                  </a:solidFill>
                  <a:latin typeface="PT Sans Narrow" panose="020B0506020203020204" pitchFamily="34" charset="-52"/>
                </a:rPr>
                <a:t>S</a:t>
              </a:r>
              <a:r>
                <a:rPr lang="en-US" sz="900" dirty="0" err="1">
                  <a:solidFill>
                    <a:srgbClr val="1F497D">
                      <a:lumMod val="50000"/>
                    </a:srgbClr>
                  </a:solidFill>
                  <a:latin typeface="PT Sans Narrow" panose="020B0506020203020204" pitchFamily="34" charset="-52"/>
                </a:rPr>
                <a:t>ü</a:t>
              </a:r>
              <a:r>
                <a:rPr lang="en-US" sz="900" b="1" dirty="0" err="1">
                  <a:solidFill>
                    <a:srgbClr val="1F497D">
                      <a:lumMod val="50000"/>
                    </a:srgbClr>
                  </a:solidFill>
                  <a:latin typeface="PT Sans Narrow" panose="020B0506020203020204" pitchFamily="34" charset="-52"/>
                </a:rPr>
                <a:t>d</a:t>
              </a:r>
              <a:endParaRPr lang="ru-RU" sz="900" b="1" dirty="0">
                <a:solidFill>
                  <a:srgbClr val="1F497D">
                    <a:lumMod val="50000"/>
                  </a:srgbClr>
                </a:solidFill>
                <a:latin typeface="PT Sans Narrow" panose="020B0506020203020204" pitchFamily="34" charset="-52"/>
              </a:endParaRPr>
            </a:p>
          </p:txBody>
        </p:sp>
        <p:sp>
          <p:nvSpPr>
            <p:cNvPr id="22" name="TextBox 6">
              <a:extLst>
                <a:ext uri="{FF2B5EF4-FFF2-40B4-BE49-F238E27FC236}">
                  <a16:creationId xmlns:a16="http://schemas.microsoft.com/office/drawing/2014/main" id="{9AFCBE57-C4F5-4EA8-BCD3-2A521D6AF43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67808" y="4797155"/>
              <a:ext cx="552336" cy="2278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defTabSz="896930"/>
              <a:r>
                <a:rPr lang="en-US" sz="1050" b="1" dirty="0">
                  <a:solidFill>
                    <a:srgbClr val="1F497D">
                      <a:lumMod val="50000"/>
                    </a:srgbClr>
                  </a:solidFill>
                  <a:latin typeface="PT Sans Narrow" panose="020B0506020203020204" pitchFamily="34" charset="-52"/>
                </a:rPr>
                <a:t>BERLIN</a:t>
              </a:r>
              <a:endParaRPr lang="ru-RU" sz="1050" dirty="0">
                <a:solidFill>
                  <a:srgbClr val="1F497D">
                    <a:lumMod val="50000"/>
                  </a:srgbClr>
                </a:solidFill>
                <a:latin typeface="PT Sans Narrow" panose="020B0506020203020204" pitchFamily="34" charset="-52"/>
              </a:endParaRPr>
            </a:p>
          </p:txBody>
        </p:sp>
        <p:sp>
          <p:nvSpPr>
            <p:cNvPr id="23" name="TextBox 6">
              <a:extLst>
                <a:ext uri="{FF2B5EF4-FFF2-40B4-BE49-F238E27FC236}">
                  <a16:creationId xmlns:a16="http://schemas.microsoft.com/office/drawing/2014/main" id="{8FB69CC9-D6D3-4DA3-AFE2-718A63E6D56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163696" y="5017098"/>
              <a:ext cx="761604" cy="359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defTabSz="896930"/>
              <a:r>
                <a:rPr lang="en-US" sz="1000" b="1" dirty="0">
                  <a:solidFill>
                    <a:srgbClr val="1F497D">
                      <a:lumMod val="50000"/>
                    </a:srgbClr>
                  </a:solidFill>
                  <a:latin typeface="PT Sans Narrow" panose="020B0506020203020204" pitchFamily="34" charset="-52"/>
                </a:rPr>
                <a:t>Population</a:t>
              </a:r>
              <a:r>
                <a:rPr lang="ru-RU" sz="1000" b="1" dirty="0">
                  <a:solidFill>
                    <a:srgbClr val="1F497D">
                      <a:lumMod val="50000"/>
                    </a:srgbClr>
                  </a:solidFill>
                  <a:latin typeface="PT Sans Narrow" panose="020B0506020203020204" pitchFamily="34" charset="-52"/>
                </a:rPr>
                <a:t>: </a:t>
              </a:r>
              <a:br>
                <a:rPr lang="ru-RU" sz="1000" b="1" dirty="0">
                  <a:solidFill>
                    <a:srgbClr val="1F497D">
                      <a:lumMod val="50000"/>
                    </a:srgbClr>
                  </a:solidFill>
                  <a:latin typeface="PT Sans Narrow" panose="020B0506020203020204" pitchFamily="34" charset="-52"/>
                </a:rPr>
              </a:br>
              <a:r>
                <a:rPr lang="ru-RU" sz="1000" dirty="0">
                  <a:solidFill>
                    <a:srgbClr val="1F497D">
                      <a:lumMod val="50000"/>
                    </a:srgbClr>
                  </a:solidFill>
                  <a:latin typeface="PT Sans Narrow" panose="020B0506020203020204" pitchFamily="34" charset="-52"/>
                </a:rPr>
                <a:t>5 </a:t>
              </a:r>
              <a:r>
                <a:rPr lang="en-US" sz="1000" dirty="0" err="1">
                  <a:solidFill>
                    <a:srgbClr val="1F497D">
                      <a:lumMod val="50000"/>
                    </a:srgbClr>
                  </a:solidFill>
                  <a:latin typeface="PT Sans Narrow" panose="020B0506020203020204" pitchFamily="34" charset="-52"/>
                </a:rPr>
                <a:t>mln</a:t>
              </a:r>
              <a:r>
                <a:rPr lang="en-US" sz="1000" dirty="0">
                  <a:solidFill>
                    <a:srgbClr val="1F497D">
                      <a:lumMod val="50000"/>
                    </a:srgbClr>
                  </a:solidFill>
                  <a:latin typeface="PT Sans Narrow" panose="020B0506020203020204" pitchFamily="34" charset="-52"/>
                </a:rPr>
                <a:t>.</a:t>
              </a:r>
              <a:endParaRPr lang="ru-RU" sz="1000" dirty="0">
                <a:solidFill>
                  <a:srgbClr val="1F497D">
                    <a:lumMod val="50000"/>
                  </a:srgbClr>
                </a:solidFill>
                <a:latin typeface="PT Sans Narrow" panose="020B0506020203020204" pitchFamily="34" charset="-52"/>
              </a:endParaRPr>
            </a:p>
          </p:txBody>
        </p:sp>
      </p:grp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C4555712-50C7-4FED-B7D3-9CD3D3C3560C}"/>
              </a:ext>
            </a:extLst>
          </p:cNvPr>
          <p:cNvGrpSpPr/>
          <p:nvPr/>
        </p:nvGrpSpPr>
        <p:grpSpPr>
          <a:xfrm>
            <a:off x="7682353" y="5543814"/>
            <a:ext cx="2515727" cy="1444098"/>
            <a:chOff x="2843808" y="4748389"/>
            <a:chExt cx="2804177" cy="1632940"/>
          </a:xfrm>
        </p:grpSpPr>
        <p:pic>
          <p:nvPicPr>
            <p:cNvPr id="25" name="Picture 17" descr="карты">
              <a:extLst>
                <a:ext uri="{FF2B5EF4-FFF2-40B4-BE49-F238E27FC236}">
                  <a16:creationId xmlns:a16="http://schemas.microsoft.com/office/drawing/2014/main" id="{2F840B74-8701-46C7-8E28-637400D757E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/>
            <a:srcRect l="61855" t="64845" r="9899" b="11443"/>
            <a:stretch/>
          </p:blipFill>
          <p:spPr bwMode="auto">
            <a:xfrm>
              <a:off x="3059832" y="4748389"/>
              <a:ext cx="2588153" cy="16329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6" name="TextBox 6">
              <a:extLst>
                <a:ext uri="{FF2B5EF4-FFF2-40B4-BE49-F238E27FC236}">
                  <a16:creationId xmlns:a16="http://schemas.microsoft.com/office/drawing/2014/main" id="{107FEFA7-5B05-4BD6-8C76-8DE1543AADA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43808" y="5877272"/>
              <a:ext cx="697210" cy="2610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defTabSz="896930"/>
              <a:r>
                <a:rPr lang="en-US" sz="900" b="1" dirty="0">
                  <a:solidFill>
                    <a:srgbClr val="1F497D">
                      <a:lumMod val="50000"/>
                    </a:srgbClr>
                  </a:solidFill>
                  <a:latin typeface="PT Sans Narrow" panose="020B0506020203020204" pitchFamily="34" charset="-52"/>
                </a:rPr>
                <a:t>FV Vorsino</a:t>
              </a:r>
              <a:endParaRPr lang="ru-RU" sz="900" b="1" dirty="0">
                <a:solidFill>
                  <a:srgbClr val="1F497D">
                    <a:lumMod val="50000"/>
                  </a:srgbClr>
                </a:solidFill>
                <a:latin typeface="PT Sans Narrow" panose="020B0506020203020204" pitchFamily="34" charset="-52"/>
              </a:endParaRPr>
            </a:p>
          </p:txBody>
        </p:sp>
        <p:sp>
          <p:nvSpPr>
            <p:cNvPr id="27" name="TextBox 6">
              <a:extLst>
                <a:ext uri="{FF2B5EF4-FFF2-40B4-BE49-F238E27FC236}">
                  <a16:creationId xmlns:a16="http://schemas.microsoft.com/office/drawing/2014/main" id="{7D803A72-3F88-419A-9F95-8EE86016AA3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55976" y="4797152"/>
              <a:ext cx="711504" cy="2871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defTabSz="896930"/>
              <a:r>
                <a:rPr lang="en-US" sz="1050" b="1" dirty="0">
                  <a:solidFill>
                    <a:srgbClr val="1F497D">
                      <a:lumMod val="50000"/>
                    </a:srgbClr>
                  </a:solidFill>
                  <a:latin typeface="PT Sans Narrow" panose="020B0506020203020204" pitchFamily="34" charset="-52"/>
                </a:rPr>
                <a:t>MOSCOW</a:t>
              </a:r>
              <a:endParaRPr lang="ru-RU" sz="1050" dirty="0">
                <a:solidFill>
                  <a:srgbClr val="1F497D">
                    <a:lumMod val="50000"/>
                  </a:srgbClr>
                </a:solidFill>
                <a:latin typeface="PT Sans Narrow" panose="020B0506020203020204" pitchFamily="34" charset="-52"/>
              </a:endParaRPr>
            </a:p>
          </p:txBody>
        </p:sp>
        <p:sp>
          <p:nvSpPr>
            <p:cNvPr id="28" name="TextBox 7">
              <a:extLst>
                <a:ext uri="{FF2B5EF4-FFF2-40B4-BE49-F238E27FC236}">
                  <a16:creationId xmlns:a16="http://schemas.microsoft.com/office/drawing/2014/main" id="{977DBD66-7644-4DEE-BB21-B7BCFE641CE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53909" y="5316993"/>
              <a:ext cx="797271" cy="4524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defTabSz="896930"/>
              <a:r>
                <a:rPr lang="en-US" sz="1000" b="1" dirty="0">
                  <a:solidFill>
                    <a:srgbClr val="1F497D">
                      <a:lumMod val="50000"/>
                    </a:srgbClr>
                  </a:solidFill>
                  <a:latin typeface="PT Sans Narrow" panose="020B0506020203020204" pitchFamily="34" charset="-52"/>
                </a:rPr>
                <a:t>Population</a:t>
              </a:r>
              <a:r>
                <a:rPr lang="ru-RU" sz="1000" b="1" dirty="0">
                  <a:solidFill>
                    <a:srgbClr val="1F497D">
                      <a:lumMod val="50000"/>
                    </a:srgbClr>
                  </a:solidFill>
                  <a:latin typeface="PT Sans Narrow" panose="020B0506020203020204" pitchFamily="34" charset="-52"/>
                </a:rPr>
                <a:t>:</a:t>
              </a:r>
              <a:br>
                <a:rPr lang="ru-RU" sz="1000" b="1" dirty="0">
                  <a:solidFill>
                    <a:srgbClr val="1F497D">
                      <a:lumMod val="50000"/>
                    </a:srgbClr>
                  </a:solidFill>
                  <a:latin typeface="PT Sans Narrow" panose="020B0506020203020204" pitchFamily="34" charset="-52"/>
                </a:rPr>
              </a:br>
              <a:r>
                <a:rPr lang="ru-RU" sz="1000" dirty="0">
                  <a:solidFill>
                    <a:srgbClr val="1F497D">
                      <a:lumMod val="50000"/>
                    </a:srgbClr>
                  </a:solidFill>
                  <a:latin typeface="PT Sans Narrow" panose="020B0506020203020204" pitchFamily="34" charset="-52"/>
                </a:rPr>
                <a:t>15 </a:t>
              </a:r>
              <a:r>
                <a:rPr lang="en-US" sz="1000" dirty="0" err="1">
                  <a:solidFill>
                    <a:srgbClr val="1F497D">
                      <a:lumMod val="50000"/>
                    </a:srgbClr>
                  </a:solidFill>
                  <a:latin typeface="PT Sans Narrow" panose="020B0506020203020204" pitchFamily="34" charset="-52"/>
                </a:rPr>
                <a:t>mln</a:t>
              </a:r>
              <a:r>
                <a:rPr lang="en-US" sz="1000" dirty="0">
                  <a:solidFill>
                    <a:srgbClr val="1F497D">
                      <a:lumMod val="50000"/>
                    </a:srgbClr>
                  </a:solidFill>
                  <a:latin typeface="PT Sans Narrow" panose="020B0506020203020204" pitchFamily="34" charset="-52"/>
                </a:rPr>
                <a:t>.</a:t>
              </a:r>
              <a:endParaRPr lang="ru-RU" sz="1000" dirty="0">
                <a:solidFill>
                  <a:srgbClr val="1F497D">
                    <a:lumMod val="50000"/>
                  </a:srgbClr>
                </a:solidFill>
                <a:latin typeface="PT Sans Narrow" panose="020B0506020203020204" pitchFamily="34" charset="-52"/>
              </a:endParaRPr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id="{D2DE7580-157A-426D-8DC1-E56457E54279}"/>
                </a:ext>
              </a:extLst>
            </p:cNvPr>
            <p:cNvSpPr/>
            <p:nvPr/>
          </p:nvSpPr>
          <p:spPr>
            <a:xfrm>
              <a:off x="3059832" y="6093296"/>
              <a:ext cx="360040" cy="2880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930"/>
              <a:endParaRPr lang="ru-RU" sz="2400">
                <a:solidFill>
                  <a:prstClr val="white"/>
                </a:solidFill>
                <a:latin typeface="PT Sans Narrow" panose="020B0506020203020204" pitchFamily="34" charset="-52"/>
              </a:endParaRPr>
            </a:p>
          </p:txBody>
        </p:sp>
        <p:sp>
          <p:nvSpPr>
            <p:cNvPr id="30" name="Овал 29">
              <a:extLst>
                <a:ext uri="{FF2B5EF4-FFF2-40B4-BE49-F238E27FC236}">
                  <a16:creationId xmlns:a16="http://schemas.microsoft.com/office/drawing/2014/main" id="{4C87182A-8CBC-4790-AD28-674B4B7B80FD}"/>
                </a:ext>
              </a:extLst>
            </p:cNvPr>
            <p:cNvSpPr/>
            <p:nvPr/>
          </p:nvSpPr>
          <p:spPr>
            <a:xfrm>
              <a:off x="3347864" y="6093296"/>
              <a:ext cx="108000" cy="108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930"/>
              <a:endParaRPr lang="ru-RU" sz="2400">
                <a:solidFill>
                  <a:prstClr val="white"/>
                </a:solidFill>
                <a:latin typeface="PT Sans Narrow" panose="020B0506020203020204" pitchFamily="34" charset="-52"/>
              </a:endParaRPr>
            </a:p>
          </p:txBody>
        </p:sp>
      </p:grp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F88D6340-4D4E-4478-954E-C55BC349DB99}"/>
              </a:ext>
            </a:extLst>
          </p:cNvPr>
          <p:cNvGrpSpPr/>
          <p:nvPr/>
        </p:nvGrpSpPr>
        <p:grpSpPr>
          <a:xfrm>
            <a:off x="1102341" y="5452620"/>
            <a:ext cx="2480324" cy="1461165"/>
            <a:chOff x="584745" y="4508612"/>
            <a:chExt cx="2498718" cy="1497500"/>
          </a:xfrm>
        </p:grpSpPr>
        <p:grpSp>
          <p:nvGrpSpPr>
            <p:cNvPr id="32" name="Группа 31">
              <a:extLst>
                <a:ext uri="{FF2B5EF4-FFF2-40B4-BE49-F238E27FC236}">
                  <a16:creationId xmlns:a16="http://schemas.microsoft.com/office/drawing/2014/main" id="{0E64A46D-B49D-4E68-8A15-FE766808B6F7}"/>
                </a:ext>
              </a:extLst>
            </p:cNvPr>
            <p:cNvGrpSpPr/>
            <p:nvPr/>
          </p:nvGrpSpPr>
          <p:grpSpPr>
            <a:xfrm>
              <a:off x="595013" y="4607552"/>
              <a:ext cx="2488450" cy="1341156"/>
              <a:chOff x="4499992" y="4533905"/>
              <a:chExt cx="2490648" cy="1405606"/>
            </a:xfrm>
          </p:grpSpPr>
          <p:pic>
            <p:nvPicPr>
              <p:cNvPr id="43" name="Рисунок 26">
                <a:extLst>
                  <a:ext uri="{FF2B5EF4-FFF2-40B4-BE49-F238E27FC236}">
                    <a16:creationId xmlns:a16="http://schemas.microsoft.com/office/drawing/2014/main" id="{E16AFE01-45E5-4917-A05A-7137286869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27007" y="4583509"/>
                <a:ext cx="825972" cy="817091"/>
              </a:xfrm>
              <a:prstGeom prst="rect">
                <a:avLst/>
              </a:prstGeom>
            </p:spPr>
          </p:pic>
          <p:sp>
            <p:nvSpPr>
              <p:cNvPr id="44" name="TextBox 6">
                <a:extLst>
                  <a:ext uri="{FF2B5EF4-FFF2-40B4-BE49-F238E27FC236}">
                    <a16:creationId xmlns:a16="http://schemas.microsoft.com/office/drawing/2014/main" id="{5E35DCAC-A0F2-49CA-BBF0-0F233A185DA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125780" y="4533905"/>
                <a:ext cx="864860" cy="27273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defTabSz="896930"/>
                <a:r>
                  <a:rPr lang="en-US" sz="1050" b="1" dirty="0">
                    <a:solidFill>
                      <a:srgbClr val="1F497D">
                        <a:lumMod val="50000"/>
                      </a:srgbClr>
                    </a:solidFill>
                    <a:latin typeface="PT Sans Narrow" panose="020B0506020203020204" pitchFamily="34" charset="-52"/>
                  </a:rPr>
                  <a:t>MILAN</a:t>
                </a:r>
                <a:endParaRPr lang="ru-RU" sz="1050" dirty="0">
                  <a:solidFill>
                    <a:srgbClr val="1F497D">
                      <a:lumMod val="50000"/>
                    </a:srgbClr>
                  </a:solidFill>
                  <a:latin typeface="PT Sans Narrow" panose="020B0506020203020204" pitchFamily="34" charset="-52"/>
                </a:endParaRPr>
              </a:p>
            </p:txBody>
          </p:sp>
          <p:pic>
            <p:nvPicPr>
              <p:cNvPr id="45" name="Рисунок 28">
                <a:extLst>
                  <a:ext uri="{FF2B5EF4-FFF2-40B4-BE49-F238E27FC236}">
                    <a16:creationId xmlns:a16="http://schemas.microsoft.com/office/drawing/2014/main" id="{5271EC4C-3AB6-494D-8A27-8A56A4EDAC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499992" y="4581128"/>
                <a:ext cx="1240532" cy="1358383"/>
              </a:xfrm>
              <a:prstGeom prst="rect">
                <a:avLst/>
              </a:prstGeom>
            </p:spPr>
          </p:pic>
          <p:pic>
            <p:nvPicPr>
              <p:cNvPr id="46" name="Picture 2">
                <a:extLst>
                  <a:ext uri="{FF2B5EF4-FFF2-40B4-BE49-F238E27FC236}">
                    <a16:creationId xmlns:a16="http://schemas.microsoft.com/office/drawing/2014/main" id="{5DABB1F4-7519-4F14-8D89-CBD656049CB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4773" t="67770" r="39068" b="27322"/>
              <a:stretch/>
            </p:blipFill>
            <p:spPr>
              <a:xfrm>
                <a:off x="6192801" y="4732010"/>
                <a:ext cx="637131" cy="381557"/>
              </a:xfrm>
              <a:prstGeom prst="rect">
                <a:avLst/>
              </a:prstGeom>
            </p:spPr>
          </p:pic>
          <p:sp>
            <p:nvSpPr>
              <p:cNvPr id="47" name="TextBox 6">
                <a:extLst>
                  <a:ext uri="{FF2B5EF4-FFF2-40B4-BE49-F238E27FC236}">
                    <a16:creationId xmlns:a16="http://schemas.microsoft.com/office/drawing/2014/main" id="{CD18AB9B-E541-418B-A02E-6987EAB146B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127419" y="5067377"/>
                <a:ext cx="747061" cy="42976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defTabSz="896930"/>
                <a:r>
                  <a:rPr lang="en-US" sz="1000" b="1" dirty="0">
                    <a:solidFill>
                      <a:srgbClr val="1F497D">
                        <a:lumMod val="50000"/>
                      </a:srgbClr>
                    </a:solidFill>
                    <a:latin typeface="PT Sans Narrow" panose="020B0506020203020204" pitchFamily="34" charset="-52"/>
                  </a:rPr>
                  <a:t>Population</a:t>
                </a:r>
                <a:r>
                  <a:rPr lang="ru-RU" sz="1000" b="1" dirty="0">
                    <a:solidFill>
                      <a:srgbClr val="1F497D">
                        <a:lumMod val="50000"/>
                      </a:srgbClr>
                    </a:solidFill>
                    <a:latin typeface="PT Sans Narrow" panose="020B0506020203020204" pitchFamily="34" charset="-52"/>
                  </a:rPr>
                  <a:t>: </a:t>
                </a:r>
                <a:br>
                  <a:rPr lang="ru-RU" sz="1000" b="1" dirty="0">
                    <a:solidFill>
                      <a:srgbClr val="1F497D">
                        <a:lumMod val="50000"/>
                      </a:srgbClr>
                    </a:solidFill>
                    <a:latin typeface="PT Sans Narrow" panose="020B0506020203020204" pitchFamily="34" charset="-52"/>
                  </a:rPr>
                </a:br>
                <a:r>
                  <a:rPr lang="ru-RU" sz="1000" dirty="0">
                    <a:solidFill>
                      <a:srgbClr val="1F497D">
                        <a:lumMod val="50000"/>
                      </a:srgbClr>
                    </a:solidFill>
                    <a:latin typeface="PT Sans Narrow" panose="020B0506020203020204" pitchFamily="34" charset="-52"/>
                  </a:rPr>
                  <a:t>4.6  </a:t>
                </a:r>
                <a:r>
                  <a:rPr lang="en-US" sz="1000" dirty="0" err="1">
                    <a:solidFill>
                      <a:srgbClr val="1F497D">
                        <a:lumMod val="50000"/>
                      </a:srgbClr>
                    </a:solidFill>
                    <a:latin typeface="PT Sans Narrow" panose="020B0506020203020204" pitchFamily="34" charset="-52"/>
                  </a:rPr>
                  <a:t>mln</a:t>
                </a:r>
                <a:r>
                  <a:rPr lang="ru-RU" sz="1000" dirty="0">
                    <a:solidFill>
                      <a:srgbClr val="1F497D">
                        <a:lumMod val="50000"/>
                      </a:srgbClr>
                    </a:solidFill>
                    <a:latin typeface="PT Sans Narrow" panose="020B0506020203020204" pitchFamily="34" charset="-52"/>
                  </a:rPr>
                  <a:t>. </a:t>
                </a:r>
              </a:p>
            </p:txBody>
          </p:sp>
        </p:grpSp>
        <p:sp>
          <p:nvSpPr>
            <p:cNvPr id="33" name="TextBox 6">
              <a:extLst>
                <a:ext uri="{FF2B5EF4-FFF2-40B4-BE49-F238E27FC236}">
                  <a16:creationId xmlns:a16="http://schemas.microsoft.com/office/drawing/2014/main" id="{5E8D17B1-C56A-400D-9E92-1DCDC92D4ED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50326" y="5769540"/>
              <a:ext cx="492864" cy="2365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defTabSz="896930"/>
              <a:r>
                <a:rPr lang="en-US" sz="900" b="1" dirty="0" err="1">
                  <a:solidFill>
                    <a:srgbClr val="1F497D">
                      <a:lumMod val="50000"/>
                    </a:srgbClr>
                  </a:solidFill>
                  <a:latin typeface="PT Sans Narrow" panose="020B0506020203020204" pitchFamily="34" charset="-52"/>
                </a:rPr>
                <a:t>Genova</a:t>
              </a:r>
              <a:endParaRPr lang="ru-RU" sz="900" b="1" dirty="0">
                <a:solidFill>
                  <a:srgbClr val="1F497D">
                    <a:lumMod val="50000"/>
                  </a:srgbClr>
                </a:solidFill>
                <a:latin typeface="PT Sans Narrow" panose="020B0506020203020204" pitchFamily="34" charset="-52"/>
              </a:endParaRPr>
            </a:p>
          </p:txBody>
        </p:sp>
        <p:sp>
          <p:nvSpPr>
            <p:cNvPr id="34" name="TextBox 6">
              <a:extLst>
                <a:ext uri="{FF2B5EF4-FFF2-40B4-BE49-F238E27FC236}">
                  <a16:creationId xmlns:a16="http://schemas.microsoft.com/office/drawing/2014/main" id="{E95E15B0-B212-4276-A42D-B0F922A0BCB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83833" y="5448414"/>
              <a:ext cx="410506" cy="2365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defTabSz="896930"/>
              <a:r>
                <a:rPr lang="en-US" sz="900" b="1" dirty="0">
                  <a:solidFill>
                    <a:srgbClr val="1F497D">
                      <a:lumMod val="50000"/>
                    </a:srgbClr>
                  </a:solidFill>
                  <a:latin typeface="PT Sans Narrow" panose="020B0506020203020204" pitchFamily="34" charset="-52"/>
                </a:rPr>
                <a:t>Pavia</a:t>
              </a:r>
              <a:endParaRPr lang="ru-RU" sz="900" b="1" dirty="0">
                <a:solidFill>
                  <a:srgbClr val="1F497D">
                    <a:lumMod val="50000"/>
                  </a:srgbClr>
                </a:solidFill>
                <a:latin typeface="PT Sans Narrow" panose="020B0506020203020204" pitchFamily="34" charset="-52"/>
              </a:endParaRPr>
            </a:p>
          </p:txBody>
        </p:sp>
        <p:sp>
          <p:nvSpPr>
            <p:cNvPr id="35" name="TextBox 6">
              <a:extLst>
                <a:ext uri="{FF2B5EF4-FFF2-40B4-BE49-F238E27FC236}">
                  <a16:creationId xmlns:a16="http://schemas.microsoft.com/office/drawing/2014/main" id="{FB4A47E6-E03A-45DF-87BF-FBE9647DF16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9554" y="5105509"/>
              <a:ext cx="455723" cy="2365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defTabSz="896930"/>
              <a:r>
                <a:rPr lang="en-US" sz="900" b="1" dirty="0">
                  <a:solidFill>
                    <a:srgbClr val="1F497D">
                      <a:lumMod val="50000"/>
                    </a:srgbClr>
                  </a:solidFill>
                  <a:latin typeface="PT Sans Narrow" panose="020B0506020203020204" pitchFamily="34" charset="-52"/>
                </a:rPr>
                <a:t>Torino</a:t>
              </a:r>
              <a:endParaRPr lang="ru-RU" sz="900" b="1" dirty="0">
                <a:solidFill>
                  <a:srgbClr val="1F497D">
                    <a:lumMod val="50000"/>
                  </a:srgbClr>
                </a:solidFill>
                <a:latin typeface="PT Sans Narrow" panose="020B0506020203020204" pitchFamily="34" charset="-52"/>
              </a:endParaRPr>
            </a:p>
          </p:txBody>
        </p:sp>
        <p:sp>
          <p:nvSpPr>
            <p:cNvPr id="36" name="TextBox 6">
              <a:extLst>
                <a:ext uri="{FF2B5EF4-FFF2-40B4-BE49-F238E27FC236}">
                  <a16:creationId xmlns:a16="http://schemas.microsoft.com/office/drawing/2014/main" id="{B8DA2A24-F99B-4F47-A4D7-4F526466747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61986" y="4508612"/>
              <a:ext cx="468642" cy="2365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defTabSz="896930"/>
              <a:r>
                <a:rPr lang="en-US" sz="900" b="1" dirty="0">
                  <a:solidFill>
                    <a:srgbClr val="1F497D">
                      <a:lumMod val="50000"/>
                    </a:srgbClr>
                  </a:solidFill>
                  <a:latin typeface="PT Sans Narrow" panose="020B0506020203020204" pitchFamily="34" charset="-52"/>
                </a:rPr>
                <a:t>Milano</a:t>
              </a:r>
              <a:endParaRPr lang="ru-RU" sz="900" b="1" dirty="0">
                <a:solidFill>
                  <a:srgbClr val="1F497D">
                    <a:lumMod val="50000"/>
                  </a:srgbClr>
                </a:solidFill>
                <a:latin typeface="PT Sans Narrow" panose="020B0506020203020204" pitchFamily="34" charset="-52"/>
              </a:endParaRPr>
            </a:p>
          </p:txBody>
        </p:sp>
        <p:sp>
          <p:nvSpPr>
            <p:cNvPr id="37" name="TextBox 6">
              <a:extLst>
                <a:ext uri="{FF2B5EF4-FFF2-40B4-BE49-F238E27FC236}">
                  <a16:creationId xmlns:a16="http://schemas.microsoft.com/office/drawing/2014/main" id="{7111C8A0-9D07-4C32-B26F-5F1A66D93BE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98546" y="4991760"/>
              <a:ext cx="479945" cy="2365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defTabSz="896930"/>
              <a:r>
                <a:rPr lang="en-US" sz="900" b="1" dirty="0">
                  <a:solidFill>
                    <a:srgbClr val="1F497D">
                      <a:lumMod val="50000"/>
                    </a:srgbClr>
                  </a:solidFill>
                  <a:latin typeface="PT Sans Narrow" panose="020B0506020203020204" pitchFamily="34" charset="-52"/>
                </a:rPr>
                <a:t>Verona</a:t>
              </a:r>
              <a:endParaRPr lang="ru-RU" sz="900" b="1" dirty="0">
                <a:solidFill>
                  <a:srgbClr val="1F497D">
                    <a:lumMod val="50000"/>
                  </a:srgbClr>
                </a:solidFill>
                <a:latin typeface="PT Sans Narrow" panose="020B0506020203020204" pitchFamily="34" charset="-52"/>
              </a:endParaRPr>
            </a:p>
          </p:txBody>
        </p:sp>
        <p:sp>
          <p:nvSpPr>
            <p:cNvPr id="38" name="Овал 37">
              <a:extLst>
                <a:ext uri="{FF2B5EF4-FFF2-40B4-BE49-F238E27FC236}">
                  <a16:creationId xmlns:a16="http://schemas.microsoft.com/office/drawing/2014/main" id="{24FBEB07-EE9B-444C-BF1B-82A485AA313D}"/>
                </a:ext>
              </a:extLst>
            </p:cNvPr>
            <p:cNvSpPr/>
            <p:nvPr/>
          </p:nvSpPr>
          <p:spPr>
            <a:xfrm>
              <a:off x="1119961" y="5851534"/>
              <a:ext cx="108000" cy="108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930"/>
              <a:endParaRPr lang="ru-RU" sz="2400">
                <a:solidFill>
                  <a:prstClr val="white"/>
                </a:solidFill>
                <a:latin typeface="PT Sans Narrow" panose="020B0506020203020204" pitchFamily="34" charset="-52"/>
              </a:endParaRPr>
            </a:p>
          </p:txBody>
        </p:sp>
        <p:sp>
          <p:nvSpPr>
            <p:cNvPr id="39" name="Овал 38">
              <a:extLst>
                <a:ext uri="{FF2B5EF4-FFF2-40B4-BE49-F238E27FC236}">
                  <a16:creationId xmlns:a16="http://schemas.microsoft.com/office/drawing/2014/main" id="{AEED8A89-EDCB-4B7A-B05E-381C13E728E6}"/>
                </a:ext>
              </a:extLst>
            </p:cNvPr>
            <p:cNvSpPr/>
            <p:nvPr/>
          </p:nvSpPr>
          <p:spPr>
            <a:xfrm>
              <a:off x="1279576" y="5419485"/>
              <a:ext cx="108000" cy="108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930"/>
              <a:endParaRPr lang="ru-RU" sz="2400">
                <a:solidFill>
                  <a:prstClr val="white"/>
                </a:solidFill>
                <a:latin typeface="PT Sans Narrow" panose="020B0506020203020204" pitchFamily="34" charset="-52"/>
              </a:endParaRPr>
            </a:p>
          </p:txBody>
        </p:sp>
        <p:sp>
          <p:nvSpPr>
            <p:cNvPr id="40" name="Овал 39">
              <a:extLst>
                <a:ext uri="{FF2B5EF4-FFF2-40B4-BE49-F238E27FC236}">
                  <a16:creationId xmlns:a16="http://schemas.microsoft.com/office/drawing/2014/main" id="{A04AED9C-ABDE-41C1-93A4-83984D1AEA77}"/>
                </a:ext>
              </a:extLst>
            </p:cNvPr>
            <p:cNvSpPr/>
            <p:nvPr/>
          </p:nvSpPr>
          <p:spPr>
            <a:xfrm>
              <a:off x="1736714" y="4924604"/>
              <a:ext cx="108000" cy="108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930"/>
              <a:endParaRPr lang="ru-RU" sz="2400">
                <a:solidFill>
                  <a:prstClr val="white"/>
                </a:solidFill>
                <a:latin typeface="PT Sans Narrow" panose="020B0506020203020204" pitchFamily="34" charset="-52"/>
              </a:endParaRPr>
            </a:p>
          </p:txBody>
        </p:sp>
        <p:sp>
          <p:nvSpPr>
            <p:cNvPr id="41" name="Овал 40">
              <a:extLst>
                <a:ext uri="{FF2B5EF4-FFF2-40B4-BE49-F238E27FC236}">
                  <a16:creationId xmlns:a16="http://schemas.microsoft.com/office/drawing/2014/main" id="{8202DFDF-8693-4DFA-A705-3ABDB4012AA8}"/>
                </a:ext>
              </a:extLst>
            </p:cNvPr>
            <p:cNvSpPr/>
            <p:nvPr/>
          </p:nvSpPr>
          <p:spPr>
            <a:xfrm>
              <a:off x="1028217" y="4652862"/>
              <a:ext cx="108000" cy="108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930"/>
              <a:endParaRPr lang="ru-RU" sz="2400">
                <a:solidFill>
                  <a:prstClr val="white"/>
                </a:solidFill>
                <a:latin typeface="PT Sans Narrow" panose="020B0506020203020204" pitchFamily="34" charset="-52"/>
              </a:endParaRPr>
            </a:p>
          </p:txBody>
        </p:sp>
        <p:sp>
          <p:nvSpPr>
            <p:cNvPr id="42" name="Овал 41">
              <a:extLst>
                <a:ext uri="{FF2B5EF4-FFF2-40B4-BE49-F238E27FC236}">
                  <a16:creationId xmlns:a16="http://schemas.microsoft.com/office/drawing/2014/main" id="{81278F63-49BD-46DB-B9F5-289C479CAED4}"/>
                </a:ext>
              </a:extLst>
            </p:cNvPr>
            <p:cNvSpPr/>
            <p:nvPr/>
          </p:nvSpPr>
          <p:spPr>
            <a:xfrm>
              <a:off x="584745" y="5192628"/>
              <a:ext cx="108000" cy="108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96930"/>
              <a:endParaRPr lang="ru-RU" sz="2400">
                <a:solidFill>
                  <a:prstClr val="white"/>
                </a:solidFill>
                <a:latin typeface="PT Sans Narrow" panose="020B0506020203020204" pitchFamily="34" charset="-5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665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/>
          <p:cNvGrpSpPr/>
          <p:nvPr/>
        </p:nvGrpSpPr>
        <p:grpSpPr>
          <a:xfrm>
            <a:off x="-1" y="1008484"/>
            <a:ext cx="7067783" cy="6913141"/>
            <a:chOff x="-1622" y="1440533"/>
            <a:chExt cx="6626070" cy="6481092"/>
          </a:xfrm>
        </p:grpSpPr>
        <p:pic>
          <p:nvPicPr>
            <p:cNvPr id="26" name="Рисунок 2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102" t="-2896" b="25309"/>
            <a:stretch/>
          </p:blipFill>
          <p:spPr>
            <a:xfrm>
              <a:off x="-1622" y="1440533"/>
              <a:ext cx="6626070" cy="6481092"/>
            </a:xfrm>
            <a:prstGeom prst="rect">
              <a:avLst/>
            </a:prstGeom>
          </p:spPr>
        </p:pic>
        <p:sp>
          <p:nvSpPr>
            <p:cNvPr id="41" name="Прямоугольник 40"/>
            <p:cNvSpPr/>
            <p:nvPr/>
          </p:nvSpPr>
          <p:spPr>
            <a:xfrm>
              <a:off x="1288007" y="5328964"/>
              <a:ext cx="805178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 panose="020B0604020202020204" charset="-52"/>
                  <a:ea typeface="Tahoma" panose="020B0604030504040204" pitchFamily="34" charset="0"/>
                  <a:cs typeface="Tahoma" panose="020B0604030504040204" pitchFamily="34" charset="0"/>
                </a:rPr>
                <a:t>FV Vorsino</a:t>
              </a:r>
              <a:endParaRPr lang="ru-RU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3" name="Овал 42"/>
            <p:cNvSpPr/>
            <p:nvPr/>
          </p:nvSpPr>
          <p:spPr>
            <a:xfrm>
              <a:off x="3141724" y="4349144"/>
              <a:ext cx="77353" cy="77353"/>
            </a:xfrm>
            <a:prstGeom prst="ellipse">
              <a:avLst/>
            </a:prstGeom>
            <a:solidFill>
              <a:srgbClr val="FFFF0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Овал 43"/>
            <p:cNvSpPr/>
            <p:nvPr/>
          </p:nvSpPr>
          <p:spPr>
            <a:xfrm>
              <a:off x="3250171" y="4349143"/>
              <a:ext cx="77353" cy="77353"/>
            </a:xfrm>
            <a:prstGeom prst="ellipse">
              <a:avLst/>
            </a:prstGeom>
            <a:solidFill>
              <a:srgbClr val="FFFF0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5" name="Овал 44"/>
            <p:cNvSpPr/>
            <p:nvPr/>
          </p:nvSpPr>
          <p:spPr>
            <a:xfrm>
              <a:off x="3360835" y="4608290"/>
              <a:ext cx="77353" cy="77353"/>
            </a:xfrm>
            <a:prstGeom prst="ellipse">
              <a:avLst/>
            </a:prstGeom>
            <a:solidFill>
              <a:srgbClr val="FFFF0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Овал 45"/>
            <p:cNvSpPr/>
            <p:nvPr/>
          </p:nvSpPr>
          <p:spPr>
            <a:xfrm>
              <a:off x="3106658" y="4519085"/>
              <a:ext cx="77353" cy="77353"/>
            </a:xfrm>
            <a:prstGeom prst="ellipse">
              <a:avLst/>
            </a:prstGeom>
            <a:solidFill>
              <a:srgbClr val="FFFF0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7" name="Овал 46"/>
            <p:cNvSpPr/>
            <p:nvPr/>
          </p:nvSpPr>
          <p:spPr>
            <a:xfrm>
              <a:off x="3231561" y="4492996"/>
              <a:ext cx="77353" cy="77353"/>
            </a:xfrm>
            <a:prstGeom prst="ellipse">
              <a:avLst/>
            </a:prstGeom>
            <a:solidFill>
              <a:srgbClr val="FFFF0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8" name="Овал 47"/>
            <p:cNvSpPr/>
            <p:nvPr/>
          </p:nvSpPr>
          <p:spPr>
            <a:xfrm>
              <a:off x="3368177" y="4509514"/>
              <a:ext cx="77353" cy="77353"/>
            </a:xfrm>
            <a:prstGeom prst="ellipse">
              <a:avLst/>
            </a:prstGeom>
            <a:solidFill>
              <a:srgbClr val="FFFF0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Овал 48"/>
            <p:cNvSpPr/>
            <p:nvPr/>
          </p:nvSpPr>
          <p:spPr>
            <a:xfrm>
              <a:off x="3262368" y="4640515"/>
              <a:ext cx="77353" cy="77353"/>
            </a:xfrm>
            <a:prstGeom prst="ellipse">
              <a:avLst/>
            </a:prstGeom>
            <a:solidFill>
              <a:srgbClr val="FFFF0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0" name="Овал 49"/>
            <p:cNvSpPr/>
            <p:nvPr/>
          </p:nvSpPr>
          <p:spPr>
            <a:xfrm>
              <a:off x="3171269" y="4606283"/>
              <a:ext cx="77353" cy="77353"/>
            </a:xfrm>
            <a:prstGeom prst="ellipse">
              <a:avLst/>
            </a:prstGeom>
            <a:solidFill>
              <a:srgbClr val="FFFF0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Овал 50"/>
            <p:cNvSpPr/>
            <p:nvPr/>
          </p:nvSpPr>
          <p:spPr>
            <a:xfrm>
              <a:off x="4910740" y="4206827"/>
              <a:ext cx="144016" cy="144016"/>
            </a:xfrm>
            <a:prstGeom prst="ellipse">
              <a:avLst/>
            </a:prstGeom>
            <a:solidFill>
              <a:srgbClr val="9C242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4176854" y="4246489"/>
              <a:ext cx="1021202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 panose="020B0604020202020204" charset="-52"/>
                  <a:ea typeface="Tahoma" panose="020B0604030504040204" pitchFamily="34" charset="0"/>
                  <a:cs typeface="Tahoma" panose="020B0604030504040204" pitchFamily="34" charset="0"/>
                </a:rPr>
                <a:t>Orekhovo</a:t>
              </a:r>
              <a:r>
                <a:rPr 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 panose="020B0604020202020204" charset="-52"/>
                  <a:ea typeface="Tahoma" panose="020B0604030504040204" pitchFamily="34" charset="0"/>
                  <a:cs typeface="Tahoma" panose="020B0604030504040204" pitchFamily="34" charset="0"/>
                </a:rPr>
                <a:t>-</a:t>
              </a:r>
            </a:p>
            <a:p>
              <a:pPr algn="ctr"/>
              <a:r>
                <a:rPr lang="en-US" sz="12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 panose="020B0604020202020204" charset="-52"/>
                  <a:ea typeface="Tahoma" panose="020B0604030504040204" pitchFamily="34" charset="0"/>
                  <a:cs typeface="Tahoma" panose="020B0604030504040204" pitchFamily="34" charset="0"/>
                </a:rPr>
                <a:t>Zuevo</a:t>
              </a:r>
              <a:endParaRPr lang="ru-RU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5" name="Овал 54"/>
            <p:cNvSpPr/>
            <p:nvPr/>
          </p:nvSpPr>
          <p:spPr>
            <a:xfrm>
              <a:off x="3091285" y="4206827"/>
              <a:ext cx="77353" cy="7735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Овал 55"/>
            <p:cNvSpPr/>
            <p:nvPr/>
          </p:nvSpPr>
          <p:spPr>
            <a:xfrm>
              <a:off x="3364141" y="4251449"/>
              <a:ext cx="77353" cy="7735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Овал 56"/>
            <p:cNvSpPr/>
            <p:nvPr/>
          </p:nvSpPr>
          <p:spPr>
            <a:xfrm>
              <a:off x="3492642" y="4685643"/>
              <a:ext cx="77353" cy="7735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Овал 57"/>
            <p:cNvSpPr/>
            <p:nvPr/>
          </p:nvSpPr>
          <p:spPr>
            <a:xfrm>
              <a:off x="3064371" y="4661807"/>
              <a:ext cx="77353" cy="7735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2385952" y="4105454"/>
              <a:ext cx="1021202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9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 panose="020B0604020202020204" charset="-52"/>
                  <a:ea typeface="Tahoma" panose="020B0604030504040204" pitchFamily="34" charset="0"/>
                  <a:cs typeface="Tahoma" panose="020B0604030504040204" pitchFamily="34" charset="0"/>
                </a:rPr>
                <a:t>Khovrino</a:t>
              </a:r>
              <a:r>
                <a:rPr lang="en-US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 panose="020B0604020202020204" charset="-52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endPara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0" name="Прямоугольник 59"/>
            <p:cNvSpPr/>
            <p:nvPr/>
          </p:nvSpPr>
          <p:spPr>
            <a:xfrm>
              <a:off x="3108150" y="4091540"/>
              <a:ext cx="1021202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9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 panose="020B0604020202020204" charset="-52"/>
                  <a:ea typeface="Tahoma" panose="020B0604030504040204" pitchFamily="34" charset="0"/>
                  <a:cs typeface="Tahoma" panose="020B0604030504040204" pitchFamily="34" charset="0"/>
                </a:rPr>
                <a:t>Severyanin</a:t>
              </a:r>
              <a:r>
                <a:rPr lang="en-US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 panose="020B0604020202020204" charset="-52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endPara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1" name="Прямоугольник 60"/>
            <p:cNvSpPr/>
            <p:nvPr/>
          </p:nvSpPr>
          <p:spPr>
            <a:xfrm>
              <a:off x="3261038" y="4679608"/>
              <a:ext cx="1021202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9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 panose="020B0604020202020204" charset="-52"/>
                  <a:ea typeface="Tahoma" panose="020B0604030504040204" pitchFamily="34" charset="0"/>
                  <a:cs typeface="Tahoma" panose="020B0604030504040204" pitchFamily="34" charset="0"/>
                </a:rPr>
                <a:t>Lyublino</a:t>
              </a:r>
              <a:r>
                <a:rPr lang="en-US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 panose="020B0604020202020204" charset="-52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endPara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2" name="Прямоугольник 61"/>
            <p:cNvSpPr/>
            <p:nvPr/>
          </p:nvSpPr>
          <p:spPr>
            <a:xfrm>
              <a:off x="2300763" y="4482863"/>
              <a:ext cx="1021202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 panose="020B0604020202020204" charset="-52"/>
                  <a:ea typeface="Tahoma" panose="020B0604030504040204" pitchFamily="34" charset="0"/>
                  <a:cs typeface="Tahoma" panose="020B0604030504040204" pitchFamily="34" charset="0"/>
                </a:rPr>
                <a:t>Kuntsevo</a:t>
              </a:r>
              <a:r>
                <a:rPr lang="ru-RU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 panose="020B0604020202020204" charset="-52"/>
                  <a:ea typeface="Tahoma" panose="020B0604030504040204" pitchFamily="34" charset="0"/>
                  <a:cs typeface="Tahoma" panose="020B0604030504040204" pitchFamily="34" charset="0"/>
                </a:rPr>
                <a:t>-2</a:t>
              </a:r>
              <a:endPara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3" name="Крест 62"/>
            <p:cNvSpPr/>
            <p:nvPr/>
          </p:nvSpPr>
          <p:spPr>
            <a:xfrm rot="2630281">
              <a:off x="3254230" y="4354185"/>
              <a:ext cx="73693" cy="72008"/>
            </a:xfrm>
            <a:prstGeom prst="plus">
              <a:avLst>
                <a:gd name="adj" fmla="val 49340"/>
              </a:avLst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4" name="Крест 63"/>
            <p:cNvSpPr/>
            <p:nvPr/>
          </p:nvSpPr>
          <p:spPr>
            <a:xfrm rot="2630281">
              <a:off x="3143250" y="4351597"/>
              <a:ext cx="73693" cy="72008"/>
            </a:xfrm>
            <a:prstGeom prst="plus">
              <a:avLst>
                <a:gd name="adj" fmla="val 49340"/>
              </a:avLst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Крест 64"/>
            <p:cNvSpPr/>
            <p:nvPr/>
          </p:nvSpPr>
          <p:spPr>
            <a:xfrm rot="2630281">
              <a:off x="3236951" y="4498745"/>
              <a:ext cx="73693" cy="72008"/>
            </a:xfrm>
            <a:prstGeom prst="plus">
              <a:avLst>
                <a:gd name="adj" fmla="val 49340"/>
              </a:avLst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Крест 65"/>
            <p:cNvSpPr/>
            <p:nvPr/>
          </p:nvSpPr>
          <p:spPr>
            <a:xfrm rot="2630281">
              <a:off x="3109420" y="4524601"/>
              <a:ext cx="73693" cy="72008"/>
            </a:xfrm>
            <a:prstGeom prst="plus">
              <a:avLst>
                <a:gd name="adj" fmla="val 49340"/>
              </a:avLst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7" name="Крест 66"/>
            <p:cNvSpPr/>
            <p:nvPr/>
          </p:nvSpPr>
          <p:spPr>
            <a:xfrm rot="2630281">
              <a:off x="3370005" y="4514904"/>
              <a:ext cx="73693" cy="72008"/>
            </a:xfrm>
            <a:prstGeom prst="plus">
              <a:avLst>
                <a:gd name="adj" fmla="val 49340"/>
              </a:avLst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8" name="Крест 67"/>
            <p:cNvSpPr/>
            <p:nvPr/>
          </p:nvSpPr>
          <p:spPr>
            <a:xfrm rot="2630281">
              <a:off x="3357169" y="4613009"/>
              <a:ext cx="73693" cy="72008"/>
            </a:xfrm>
            <a:prstGeom prst="plus">
              <a:avLst>
                <a:gd name="adj" fmla="val 49340"/>
              </a:avLst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9" name="Крест 68"/>
            <p:cNvSpPr/>
            <p:nvPr/>
          </p:nvSpPr>
          <p:spPr>
            <a:xfrm rot="2630281">
              <a:off x="3262413" y="4653523"/>
              <a:ext cx="73693" cy="72008"/>
            </a:xfrm>
            <a:prstGeom prst="plus">
              <a:avLst>
                <a:gd name="adj" fmla="val 49340"/>
              </a:avLst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0" name="Крест 69"/>
            <p:cNvSpPr/>
            <p:nvPr/>
          </p:nvSpPr>
          <p:spPr>
            <a:xfrm rot="2630281">
              <a:off x="3174928" y="4612261"/>
              <a:ext cx="73693" cy="72008"/>
            </a:xfrm>
            <a:prstGeom prst="plus">
              <a:avLst>
                <a:gd name="adj" fmla="val 49340"/>
              </a:avLst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9" name="Полилиния 8"/>
          <p:cNvSpPr/>
          <p:nvPr/>
        </p:nvSpPr>
        <p:spPr>
          <a:xfrm>
            <a:off x="5094833" y="1080492"/>
            <a:ext cx="5472608" cy="968879"/>
          </a:xfrm>
          <a:custGeom>
            <a:avLst/>
            <a:gdLst>
              <a:gd name="connsiteX0" fmla="*/ 469232 w 10419348"/>
              <a:gd name="connsiteY0" fmla="*/ 24063 h 1985211"/>
              <a:gd name="connsiteX1" fmla="*/ 0 w 10419348"/>
              <a:gd name="connsiteY1" fmla="*/ 1985211 h 1985211"/>
              <a:gd name="connsiteX2" fmla="*/ 9901990 w 10419348"/>
              <a:gd name="connsiteY2" fmla="*/ 1985211 h 1985211"/>
              <a:gd name="connsiteX3" fmla="*/ 10419348 w 10419348"/>
              <a:gd name="connsiteY3" fmla="*/ 0 h 1985211"/>
              <a:gd name="connsiteX4" fmla="*/ 469232 w 10419348"/>
              <a:gd name="connsiteY4" fmla="*/ 24063 h 1985211"/>
              <a:gd name="connsiteX0" fmla="*/ 457200 w 10419348"/>
              <a:gd name="connsiteY0" fmla="*/ 0 h 1997243"/>
              <a:gd name="connsiteX1" fmla="*/ 0 w 10419348"/>
              <a:gd name="connsiteY1" fmla="*/ 1997243 h 1997243"/>
              <a:gd name="connsiteX2" fmla="*/ 9901990 w 10419348"/>
              <a:gd name="connsiteY2" fmla="*/ 1997243 h 1997243"/>
              <a:gd name="connsiteX3" fmla="*/ 10419348 w 10419348"/>
              <a:gd name="connsiteY3" fmla="*/ 12032 h 1997243"/>
              <a:gd name="connsiteX4" fmla="*/ 457200 w 10419348"/>
              <a:gd name="connsiteY4" fmla="*/ 0 h 1997243"/>
              <a:gd name="connsiteX0" fmla="*/ 445168 w 10419348"/>
              <a:gd name="connsiteY0" fmla="*/ 24062 h 1985211"/>
              <a:gd name="connsiteX1" fmla="*/ 0 w 10419348"/>
              <a:gd name="connsiteY1" fmla="*/ 1985211 h 1985211"/>
              <a:gd name="connsiteX2" fmla="*/ 9901990 w 10419348"/>
              <a:gd name="connsiteY2" fmla="*/ 1985211 h 1985211"/>
              <a:gd name="connsiteX3" fmla="*/ 10419348 w 10419348"/>
              <a:gd name="connsiteY3" fmla="*/ 0 h 1985211"/>
              <a:gd name="connsiteX4" fmla="*/ 445168 w 10419348"/>
              <a:gd name="connsiteY4" fmla="*/ 24062 h 1985211"/>
              <a:gd name="connsiteX0" fmla="*/ 433136 w 10419348"/>
              <a:gd name="connsiteY0" fmla="*/ 36094 h 1985211"/>
              <a:gd name="connsiteX1" fmla="*/ 0 w 10419348"/>
              <a:gd name="connsiteY1" fmla="*/ 1985211 h 1985211"/>
              <a:gd name="connsiteX2" fmla="*/ 9901990 w 10419348"/>
              <a:gd name="connsiteY2" fmla="*/ 1985211 h 1985211"/>
              <a:gd name="connsiteX3" fmla="*/ 10419348 w 10419348"/>
              <a:gd name="connsiteY3" fmla="*/ 0 h 1985211"/>
              <a:gd name="connsiteX4" fmla="*/ 433136 w 10419348"/>
              <a:gd name="connsiteY4" fmla="*/ 36094 h 1985211"/>
              <a:gd name="connsiteX0" fmla="*/ 493294 w 10419348"/>
              <a:gd name="connsiteY0" fmla="*/ 36094 h 1985211"/>
              <a:gd name="connsiteX1" fmla="*/ 0 w 10419348"/>
              <a:gd name="connsiteY1" fmla="*/ 1985211 h 1985211"/>
              <a:gd name="connsiteX2" fmla="*/ 9901990 w 10419348"/>
              <a:gd name="connsiteY2" fmla="*/ 1985211 h 1985211"/>
              <a:gd name="connsiteX3" fmla="*/ 10419348 w 10419348"/>
              <a:gd name="connsiteY3" fmla="*/ 0 h 1985211"/>
              <a:gd name="connsiteX4" fmla="*/ 493294 w 10419348"/>
              <a:gd name="connsiteY4" fmla="*/ 36094 h 1985211"/>
              <a:gd name="connsiteX0" fmla="*/ 577515 w 10419348"/>
              <a:gd name="connsiteY0" fmla="*/ 12030 h 1985211"/>
              <a:gd name="connsiteX1" fmla="*/ 0 w 10419348"/>
              <a:gd name="connsiteY1" fmla="*/ 1985211 h 1985211"/>
              <a:gd name="connsiteX2" fmla="*/ 9901990 w 10419348"/>
              <a:gd name="connsiteY2" fmla="*/ 1985211 h 1985211"/>
              <a:gd name="connsiteX3" fmla="*/ 10419348 w 10419348"/>
              <a:gd name="connsiteY3" fmla="*/ 0 h 1985211"/>
              <a:gd name="connsiteX4" fmla="*/ 577515 w 10419348"/>
              <a:gd name="connsiteY4" fmla="*/ 12030 h 1985211"/>
              <a:gd name="connsiteX0" fmla="*/ 577515 w 10527632"/>
              <a:gd name="connsiteY0" fmla="*/ 0 h 1973181"/>
              <a:gd name="connsiteX1" fmla="*/ 0 w 10527632"/>
              <a:gd name="connsiteY1" fmla="*/ 1973181 h 1973181"/>
              <a:gd name="connsiteX2" fmla="*/ 9901990 w 10527632"/>
              <a:gd name="connsiteY2" fmla="*/ 1973181 h 1973181"/>
              <a:gd name="connsiteX3" fmla="*/ 10527632 w 10527632"/>
              <a:gd name="connsiteY3" fmla="*/ 12033 h 1973181"/>
              <a:gd name="connsiteX4" fmla="*/ 577515 w 10527632"/>
              <a:gd name="connsiteY4" fmla="*/ 0 h 1973181"/>
              <a:gd name="connsiteX0" fmla="*/ 577515 w 10744200"/>
              <a:gd name="connsiteY0" fmla="*/ 0 h 1973181"/>
              <a:gd name="connsiteX1" fmla="*/ 0 w 10744200"/>
              <a:gd name="connsiteY1" fmla="*/ 1973181 h 1973181"/>
              <a:gd name="connsiteX2" fmla="*/ 9901990 w 10744200"/>
              <a:gd name="connsiteY2" fmla="*/ 1973181 h 1973181"/>
              <a:gd name="connsiteX3" fmla="*/ 10744200 w 10744200"/>
              <a:gd name="connsiteY3" fmla="*/ 2 h 1973181"/>
              <a:gd name="connsiteX4" fmla="*/ 577515 w 10744200"/>
              <a:gd name="connsiteY4" fmla="*/ 0 h 1973181"/>
              <a:gd name="connsiteX0" fmla="*/ 577515 w 10744200"/>
              <a:gd name="connsiteY0" fmla="*/ 0 h 1973181"/>
              <a:gd name="connsiteX1" fmla="*/ 0 w 10744200"/>
              <a:gd name="connsiteY1" fmla="*/ 1973181 h 1973181"/>
              <a:gd name="connsiteX2" fmla="*/ 10130590 w 10744200"/>
              <a:gd name="connsiteY2" fmla="*/ 1961149 h 1973181"/>
              <a:gd name="connsiteX3" fmla="*/ 10744200 w 10744200"/>
              <a:gd name="connsiteY3" fmla="*/ 2 h 1973181"/>
              <a:gd name="connsiteX4" fmla="*/ 577515 w 10744200"/>
              <a:gd name="connsiteY4" fmla="*/ 0 h 1973181"/>
              <a:gd name="connsiteX0" fmla="*/ 541420 w 10708105"/>
              <a:gd name="connsiteY0" fmla="*/ 0 h 1961150"/>
              <a:gd name="connsiteX1" fmla="*/ 0 w 10708105"/>
              <a:gd name="connsiteY1" fmla="*/ 1961150 h 1961150"/>
              <a:gd name="connsiteX2" fmla="*/ 10094495 w 10708105"/>
              <a:gd name="connsiteY2" fmla="*/ 1961149 h 1961150"/>
              <a:gd name="connsiteX3" fmla="*/ 10708105 w 10708105"/>
              <a:gd name="connsiteY3" fmla="*/ 2 h 1961150"/>
              <a:gd name="connsiteX4" fmla="*/ 541420 w 10708105"/>
              <a:gd name="connsiteY4" fmla="*/ 0 h 1961150"/>
              <a:gd name="connsiteX0" fmla="*/ 541420 w 10708105"/>
              <a:gd name="connsiteY0" fmla="*/ 0 h 1961150"/>
              <a:gd name="connsiteX1" fmla="*/ 0 w 10708105"/>
              <a:gd name="connsiteY1" fmla="*/ 1961150 h 1961150"/>
              <a:gd name="connsiteX2" fmla="*/ 10166685 w 10708105"/>
              <a:gd name="connsiteY2" fmla="*/ 1949118 h 1961150"/>
              <a:gd name="connsiteX3" fmla="*/ 10708105 w 10708105"/>
              <a:gd name="connsiteY3" fmla="*/ 2 h 1961150"/>
              <a:gd name="connsiteX4" fmla="*/ 541420 w 10708105"/>
              <a:gd name="connsiteY4" fmla="*/ 0 h 1961150"/>
              <a:gd name="connsiteX0" fmla="*/ 531501 w 10698186"/>
              <a:gd name="connsiteY0" fmla="*/ 0 h 1949118"/>
              <a:gd name="connsiteX1" fmla="*/ 0 w 10698186"/>
              <a:gd name="connsiteY1" fmla="*/ 1941023 h 1949118"/>
              <a:gd name="connsiteX2" fmla="*/ 10156766 w 10698186"/>
              <a:gd name="connsiteY2" fmla="*/ 1949118 h 1949118"/>
              <a:gd name="connsiteX3" fmla="*/ 10698186 w 10698186"/>
              <a:gd name="connsiteY3" fmla="*/ 2 h 1949118"/>
              <a:gd name="connsiteX4" fmla="*/ 531501 w 10698186"/>
              <a:gd name="connsiteY4" fmla="*/ 0 h 1949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98186" h="1949118">
                <a:moveTo>
                  <a:pt x="531501" y="0"/>
                </a:moveTo>
                <a:lnTo>
                  <a:pt x="0" y="1941023"/>
                </a:lnTo>
                <a:lnTo>
                  <a:pt x="10156766" y="1949118"/>
                </a:lnTo>
                <a:lnTo>
                  <a:pt x="10698186" y="2"/>
                </a:lnTo>
                <a:lnTo>
                  <a:pt x="531501" y="0"/>
                </a:lnTo>
                <a:close/>
              </a:path>
            </a:pathLst>
          </a:custGeom>
          <a:solidFill>
            <a:srgbClr val="6E6B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5634893" y="1322262"/>
            <a:ext cx="464451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PT Sans Narrow" pitchFamily="34" charset="-52"/>
              </a:rPr>
              <a:t>Freight Village Vorsino – large-scale multi-modal industrial-logistics cluster of nation wide significance</a:t>
            </a:r>
            <a:endParaRPr lang="ru-RU" sz="1400" b="1" dirty="0">
              <a:solidFill>
                <a:schemeClr val="bg1"/>
              </a:solidFill>
              <a:latin typeface="PT Sans Narrow" pitchFamily="34" charset="-52"/>
            </a:endParaRPr>
          </a:p>
          <a:p>
            <a:endParaRPr lang="ru-RU" sz="1400" b="1" dirty="0">
              <a:solidFill>
                <a:schemeClr val="bg1"/>
              </a:solidFill>
              <a:latin typeface="PT Sans Narrow" pitchFamily="34" charset="-52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EIGHT VILLAGE LOCATION IN RUSSIA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9</a:t>
            </a:fld>
            <a:endParaRPr lang="ru-RU"/>
          </a:p>
        </p:txBody>
      </p:sp>
      <p:sp>
        <p:nvSpPr>
          <p:cNvPr id="14" name="Полилиния 13"/>
          <p:cNvSpPr/>
          <p:nvPr/>
        </p:nvSpPr>
        <p:spPr>
          <a:xfrm>
            <a:off x="6246961" y="1886482"/>
            <a:ext cx="4536504" cy="870382"/>
          </a:xfrm>
          <a:custGeom>
            <a:avLst/>
            <a:gdLst>
              <a:gd name="connsiteX0" fmla="*/ 469232 w 10419348"/>
              <a:gd name="connsiteY0" fmla="*/ 24063 h 1985211"/>
              <a:gd name="connsiteX1" fmla="*/ 0 w 10419348"/>
              <a:gd name="connsiteY1" fmla="*/ 1985211 h 1985211"/>
              <a:gd name="connsiteX2" fmla="*/ 9901990 w 10419348"/>
              <a:gd name="connsiteY2" fmla="*/ 1985211 h 1985211"/>
              <a:gd name="connsiteX3" fmla="*/ 10419348 w 10419348"/>
              <a:gd name="connsiteY3" fmla="*/ 0 h 1985211"/>
              <a:gd name="connsiteX4" fmla="*/ 469232 w 10419348"/>
              <a:gd name="connsiteY4" fmla="*/ 24063 h 1985211"/>
              <a:gd name="connsiteX0" fmla="*/ 457200 w 10419348"/>
              <a:gd name="connsiteY0" fmla="*/ 0 h 1997243"/>
              <a:gd name="connsiteX1" fmla="*/ 0 w 10419348"/>
              <a:gd name="connsiteY1" fmla="*/ 1997243 h 1997243"/>
              <a:gd name="connsiteX2" fmla="*/ 9901990 w 10419348"/>
              <a:gd name="connsiteY2" fmla="*/ 1997243 h 1997243"/>
              <a:gd name="connsiteX3" fmla="*/ 10419348 w 10419348"/>
              <a:gd name="connsiteY3" fmla="*/ 12032 h 1997243"/>
              <a:gd name="connsiteX4" fmla="*/ 457200 w 10419348"/>
              <a:gd name="connsiteY4" fmla="*/ 0 h 1997243"/>
              <a:gd name="connsiteX0" fmla="*/ 445168 w 10419348"/>
              <a:gd name="connsiteY0" fmla="*/ 24062 h 1985211"/>
              <a:gd name="connsiteX1" fmla="*/ 0 w 10419348"/>
              <a:gd name="connsiteY1" fmla="*/ 1985211 h 1985211"/>
              <a:gd name="connsiteX2" fmla="*/ 9901990 w 10419348"/>
              <a:gd name="connsiteY2" fmla="*/ 1985211 h 1985211"/>
              <a:gd name="connsiteX3" fmla="*/ 10419348 w 10419348"/>
              <a:gd name="connsiteY3" fmla="*/ 0 h 1985211"/>
              <a:gd name="connsiteX4" fmla="*/ 445168 w 10419348"/>
              <a:gd name="connsiteY4" fmla="*/ 24062 h 1985211"/>
              <a:gd name="connsiteX0" fmla="*/ 433136 w 10419348"/>
              <a:gd name="connsiteY0" fmla="*/ 36094 h 1985211"/>
              <a:gd name="connsiteX1" fmla="*/ 0 w 10419348"/>
              <a:gd name="connsiteY1" fmla="*/ 1985211 h 1985211"/>
              <a:gd name="connsiteX2" fmla="*/ 9901990 w 10419348"/>
              <a:gd name="connsiteY2" fmla="*/ 1985211 h 1985211"/>
              <a:gd name="connsiteX3" fmla="*/ 10419348 w 10419348"/>
              <a:gd name="connsiteY3" fmla="*/ 0 h 1985211"/>
              <a:gd name="connsiteX4" fmla="*/ 433136 w 10419348"/>
              <a:gd name="connsiteY4" fmla="*/ 36094 h 1985211"/>
              <a:gd name="connsiteX0" fmla="*/ 493294 w 10419348"/>
              <a:gd name="connsiteY0" fmla="*/ 36094 h 1985211"/>
              <a:gd name="connsiteX1" fmla="*/ 0 w 10419348"/>
              <a:gd name="connsiteY1" fmla="*/ 1985211 h 1985211"/>
              <a:gd name="connsiteX2" fmla="*/ 9901990 w 10419348"/>
              <a:gd name="connsiteY2" fmla="*/ 1985211 h 1985211"/>
              <a:gd name="connsiteX3" fmla="*/ 10419348 w 10419348"/>
              <a:gd name="connsiteY3" fmla="*/ 0 h 1985211"/>
              <a:gd name="connsiteX4" fmla="*/ 493294 w 10419348"/>
              <a:gd name="connsiteY4" fmla="*/ 36094 h 1985211"/>
              <a:gd name="connsiteX0" fmla="*/ 577515 w 10419348"/>
              <a:gd name="connsiteY0" fmla="*/ 12030 h 1985211"/>
              <a:gd name="connsiteX1" fmla="*/ 0 w 10419348"/>
              <a:gd name="connsiteY1" fmla="*/ 1985211 h 1985211"/>
              <a:gd name="connsiteX2" fmla="*/ 9901990 w 10419348"/>
              <a:gd name="connsiteY2" fmla="*/ 1985211 h 1985211"/>
              <a:gd name="connsiteX3" fmla="*/ 10419348 w 10419348"/>
              <a:gd name="connsiteY3" fmla="*/ 0 h 1985211"/>
              <a:gd name="connsiteX4" fmla="*/ 577515 w 10419348"/>
              <a:gd name="connsiteY4" fmla="*/ 12030 h 1985211"/>
              <a:gd name="connsiteX0" fmla="*/ 577515 w 10527632"/>
              <a:gd name="connsiteY0" fmla="*/ 0 h 1973181"/>
              <a:gd name="connsiteX1" fmla="*/ 0 w 10527632"/>
              <a:gd name="connsiteY1" fmla="*/ 1973181 h 1973181"/>
              <a:gd name="connsiteX2" fmla="*/ 9901990 w 10527632"/>
              <a:gd name="connsiteY2" fmla="*/ 1973181 h 1973181"/>
              <a:gd name="connsiteX3" fmla="*/ 10527632 w 10527632"/>
              <a:gd name="connsiteY3" fmla="*/ 12033 h 1973181"/>
              <a:gd name="connsiteX4" fmla="*/ 577515 w 10527632"/>
              <a:gd name="connsiteY4" fmla="*/ 0 h 1973181"/>
              <a:gd name="connsiteX0" fmla="*/ 577515 w 10744200"/>
              <a:gd name="connsiteY0" fmla="*/ 0 h 1973181"/>
              <a:gd name="connsiteX1" fmla="*/ 0 w 10744200"/>
              <a:gd name="connsiteY1" fmla="*/ 1973181 h 1973181"/>
              <a:gd name="connsiteX2" fmla="*/ 9901990 w 10744200"/>
              <a:gd name="connsiteY2" fmla="*/ 1973181 h 1973181"/>
              <a:gd name="connsiteX3" fmla="*/ 10744200 w 10744200"/>
              <a:gd name="connsiteY3" fmla="*/ 2 h 1973181"/>
              <a:gd name="connsiteX4" fmla="*/ 577515 w 10744200"/>
              <a:gd name="connsiteY4" fmla="*/ 0 h 1973181"/>
              <a:gd name="connsiteX0" fmla="*/ 577515 w 10744200"/>
              <a:gd name="connsiteY0" fmla="*/ 0 h 1973181"/>
              <a:gd name="connsiteX1" fmla="*/ 0 w 10744200"/>
              <a:gd name="connsiteY1" fmla="*/ 1973181 h 1973181"/>
              <a:gd name="connsiteX2" fmla="*/ 10130590 w 10744200"/>
              <a:gd name="connsiteY2" fmla="*/ 1961149 h 1973181"/>
              <a:gd name="connsiteX3" fmla="*/ 10744200 w 10744200"/>
              <a:gd name="connsiteY3" fmla="*/ 2 h 1973181"/>
              <a:gd name="connsiteX4" fmla="*/ 577515 w 10744200"/>
              <a:gd name="connsiteY4" fmla="*/ 0 h 1973181"/>
              <a:gd name="connsiteX0" fmla="*/ 541420 w 10708105"/>
              <a:gd name="connsiteY0" fmla="*/ 0 h 1961150"/>
              <a:gd name="connsiteX1" fmla="*/ 0 w 10708105"/>
              <a:gd name="connsiteY1" fmla="*/ 1961150 h 1961150"/>
              <a:gd name="connsiteX2" fmla="*/ 10094495 w 10708105"/>
              <a:gd name="connsiteY2" fmla="*/ 1961149 h 1961150"/>
              <a:gd name="connsiteX3" fmla="*/ 10708105 w 10708105"/>
              <a:gd name="connsiteY3" fmla="*/ 2 h 1961150"/>
              <a:gd name="connsiteX4" fmla="*/ 541420 w 10708105"/>
              <a:gd name="connsiteY4" fmla="*/ 0 h 1961150"/>
              <a:gd name="connsiteX0" fmla="*/ 541420 w 10708105"/>
              <a:gd name="connsiteY0" fmla="*/ 0 h 1961150"/>
              <a:gd name="connsiteX1" fmla="*/ 0 w 10708105"/>
              <a:gd name="connsiteY1" fmla="*/ 1961150 h 1961150"/>
              <a:gd name="connsiteX2" fmla="*/ 10166685 w 10708105"/>
              <a:gd name="connsiteY2" fmla="*/ 1949118 h 1961150"/>
              <a:gd name="connsiteX3" fmla="*/ 10708105 w 10708105"/>
              <a:gd name="connsiteY3" fmla="*/ 2 h 1961150"/>
              <a:gd name="connsiteX4" fmla="*/ 541420 w 10708105"/>
              <a:gd name="connsiteY4" fmla="*/ 0 h 1961150"/>
              <a:gd name="connsiteX0" fmla="*/ 531501 w 10698186"/>
              <a:gd name="connsiteY0" fmla="*/ 0 h 1949118"/>
              <a:gd name="connsiteX1" fmla="*/ 0 w 10698186"/>
              <a:gd name="connsiteY1" fmla="*/ 1941023 h 1949118"/>
              <a:gd name="connsiteX2" fmla="*/ 10156766 w 10698186"/>
              <a:gd name="connsiteY2" fmla="*/ 1949118 h 1949118"/>
              <a:gd name="connsiteX3" fmla="*/ 10698186 w 10698186"/>
              <a:gd name="connsiteY3" fmla="*/ 2 h 1949118"/>
              <a:gd name="connsiteX4" fmla="*/ 531501 w 10698186"/>
              <a:gd name="connsiteY4" fmla="*/ 0 h 1949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98186" h="1949118">
                <a:moveTo>
                  <a:pt x="531501" y="0"/>
                </a:moveTo>
                <a:lnTo>
                  <a:pt x="0" y="1941023"/>
                </a:lnTo>
                <a:lnTo>
                  <a:pt x="10156766" y="1949118"/>
                </a:lnTo>
                <a:lnTo>
                  <a:pt x="10698186" y="2"/>
                </a:lnTo>
                <a:lnTo>
                  <a:pt x="531501" y="0"/>
                </a:lnTo>
                <a:close/>
              </a:path>
            </a:pathLst>
          </a:custGeom>
          <a:solidFill>
            <a:srgbClr val="6E6B69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Rectangle 14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6823025" y="2074511"/>
            <a:ext cx="3888432" cy="748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73471" tIns="73471" rIns="73471" bIns="73471" numCol="1" anchor="t" anchorCtr="0" compatLnSpc="1">
            <a:prstTxWarp prst="textNoShape">
              <a:avLst/>
            </a:prstTxWarp>
            <a:noAutofit/>
          </a:bodyPr>
          <a:lstStyle/>
          <a:p>
            <a:pPr marL="171450" indent="-171450">
              <a:spcAft>
                <a:spcPts val="600"/>
              </a:spcAft>
              <a:buClr>
                <a:schemeClr val="bg1"/>
              </a:buClr>
              <a:buFont typeface="Wingdings" charset="2"/>
              <a:buChar char="§"/>
            </a:pPr>
            <a:r>
              <a:rPr lang="en-US" sz="1400" dirty="0">
                <a:solidFill>
                  <a:schemeClr val="bg1"/>
                </a:solidFill>
                <a:latin typeface="PT Sans Narrow" panose="020B0604020202020204" charset="-52"/>
              </a:rPr>
              <a:t>Optimal distance to the New Moscow</a:t>
            </a:r>
            <a:r>
              <a:rPr lang="ru-RU" sz="1400" dirty="0">
                <a:solidFill>
                  <a:schemeClr val="bg1"/>
                </a:solidFill>
                <a:latin typeface="PT Sans Narrow" panose="020B0604020202020204" charset="-52"/>
              </a:rPr>
              <a:t> </a:t>
            </a:r>
          </a:p>
          <a:p>
            <a:pPr marL="171450" indent="-171450">
              <a:spcAft>
                <a:spcPts val="600"/>
              </a:spcAft>
              <a:buClr>
                <a:schemeClr val="bg1"/>
              </a:buClr>
              <a:buFont typeface="Wingdings" charset="2"/>
              <a:buChar char="§"/>
            </a:pPr>
            <a:r>
              <a:rPr lang="en-US" sz="1400" dirty="0">
                <a:solidFill>
                  <a:schemeClr val="bg1"/>
                </a:solidFill>
                <a:latin typeface="PT Sans Narrow" panose="020B0604020202020204" charset="-52"/>
              </a:rPr>
              <a:t>Transit to other regions of the Central Federal District</a:t>
            </a:r>
            <a:endParaRPr lang="ru-RU" sz="1400" dirty="0">
              <a:solidFill>
                <a:schemeClr val="bg1"/>
              </a:solidFill>
              <a:latin typeface="PT Sans Narrow" panose="020B0604020202020204" charset="-52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7399089" y="3688547"/>
            <a:ext cx="70235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600"/>
              </a:spcAft>
            </a:pPr>
            <a:r>
              <a:rPr lang="ru-RU" sz="1200" b="1" dirty="0">
                <a:solidFill>
                  <a:schemeClr val="accent2">
                    <a:lumMod val="75000"/>
                  </a:schemeClr>
                </a:solidFill>
                <a:latin typeface="PT Sans Narrow" panose="020B0604020202020204" charset="-52"/>
              </a:rPr>
              <a:t>67 </a:t>
            </a:r>
            <a:r>
              <a:rPr lang="en-US" sz="1200" b="1" dirty="0">
                <a:solidFill>
                  <a:schemeClr val="accent2">
                    <a:lumMod val="75000"/>
                  </a:schemeClr>
                </a:solidFill>
                <a:latin typeface="PT Sans Narrow" panose="020B0604020202020204" charset="-52"/>
              </a:rPr>
              <a:t>km</a:t>
            </a:r>
            <a:r>
              <a:rPr lang="ru-RU" sz="1200" b="1" dirty="0">
                <a:solidFill>
                  <a:schemeClr val="accent2">
                    <a:lumMod val="75000"/>
                  </a:schemeClr>
                </a:solidFill>
                <a:latin typeface="PT Sans Narrow" panose="020B0604020202020204" charset="-52"/>
              </a:rPr>
              <a:t>  </a:t>
            </a:r>
            <a:endParaRPr lang="en-US" sz="1200" b="1" dirty="0">
              <a:solidFill>
                <a:schemeClr val="accent2">
                  <a:lumMod val="75000"/>
                </a:schemeClr>
              </a:solidFill>
              <a:latin typeface="PT Sans Narrow" panose="020B0604020202020204" charset="-52"/>
            </a:endParaRPr>
          </a:p>
          <a:p>
            <a:pPr algn="r">
              <a:spcAft>
                <a:spcPts val="600"/>
              </a:spcAft>
            </a:pPr>
            <a:r>
              <a:rPr lang="ru-RU" sz="1200" b="1" dirty="0">
                <a:solidFill>
                  <a:schemeClr val="accent2">
                    <a:lumMod val="75000"/>
                  </a:schemeClr>
                </a:solidFill>
                <a:latin typeface="PT Sans Narrow" panose="020B0604020202020204" charset="-52"/>
              </a:rPr>
              <a:t>40 </a:t>
            </a:r>
            <a:r>
              <a:rPr lang="en-US" sz="1200" b="1" dirty="0">
                <a:solidFill>
                  <a:schemeClr val="accent2">
                    <a:lumMod val="75000"/>
                  </a:schemeClr>
                </a:solidFill>
                <a:latin typeface="PT Sans Narrow" panose="020B0604020202020204" charset="-52"/>
              </a:rPr>
              <a:t>km</a:t>
            </a:r>
            <a:r>
              <a:rPr lang="ru-RU" sz="1200" b="1" dirty="0">
                <a:solidFill>
                  <a:schemeClr val="accent2">
                    <a:lumMod val="75000"/>
                  </a:schemeClr>
                </a:solidFill>
                <a:latin typeface="PT Sans Narrow" panose="020B0604020202020204" charset="-52"/>
              </a:rPr>
              <a:t>  </a:t>
            </a:r>
            <a:endParaRPr lang="en-US" sz="1200" b="1" dirty="0">
              <a:solidFill>
                <a:schemeClr val="accent2">
                  <a:lumMod val="75000"/>
                </a:schemeClr>
              </a:solidFill>
              <a:latin typeface="PT Sans Narrow" panose="020B0604020202020204" charset="-52"/>
            </a:endParaRPr>
          </a:p>
          <a:p>
            <a:pPr algn="r">
              <a:spcAft>
                <a:spcPts val="600"/>
              </a:spcAft>
            </a:pPr>
            <a:r>
              <a:rPr lang="ru-RU" sz="1200" b="1" dirty="0">
                <a:solidFill>
                  <a:schemeClr val="accent2">
                    <a:lumMod val="75000"/>
                  </a:schemeClr>
                </a:solidFill>
                <a:latin typeface="PT Sans Narrow" panose="020B0604020202020204" charset="-52"/>
              </a:rPr>
              <a:t>  3 </a:t>
            </a:r>
            <a:r>
              <a:rPr lang="en-US" sz="1200" b="1" dirty="0">
                <a:solidFill>
                  <a:schemeClr val="accent2">
                    <a:lumMod val="75000"/>
                  </a:schemeClr>
                </a:solidFill>
                <a:latin typeface="PT Sans Narrow" panose="020B0604020202020204" charset="-52"/>
              </a:rPr>
              <a:t>km</a:t>
            </a:r>
            <a:r>
              <a:rPr lang="ru-RU" sz="1200" b="1" dirty="0">
                <a:solidFill>
                  <a:schemeClr val="accent2">
                    <a:lumMod val="75000"/>
                  </a:schemeClr>
                </a:solidFill>
                <a:latin typeface="PT Sans Narrow" panose="020B0604020202020204" charset="-52"/>
              </a:rPr>
              <a:t>  </a:t>
            </a:r>
            <a:endParaRPr lang="en-US" sz="1200" b="1" dirty="0">
              <a:solidFill>
                <a:schemeClr val="accent2">
                  <a:lumMod val="75000"/>
                </a:schemeClr>
              </a:solidFill>
              <a:latin typeface="PT Sans Narrow" panose="020B0604020202020204" charset="-52"/>
            </a:endParaRPr>
          </a:p>
          <a:p>
            <a:pPr lvl="0" algn="r">
              <a:spcAft>
                <a:spcPts val="600"/>
              </a:spcAft>
            </a:pPr>
            <a:r>
              <a:rPr lang="ru-RU" sz="1200" b="1" dirty="0">
                <a:solidFill>
                  <a:schemeClr val="accent2">
                    <a:lumMod val="75000"/>
                  </a:schemeClr>
                </a:solidFill>
                <a:latin typeface="PT Sans Narrow" panose="020B0604020202020204" charset="-52"/>
              </a:rPr>
              <a:t>40 </a:t>
            </a:r>
            <a:r>
              <a:rPr lang="en-US" sz="1200" b="1" dirty="0">
                <a:solidFill>
                  <a:schemeClr val="accent2">
                    <a:lumMod val="75000"/>
                  </a:schemeClr>
                </a:solidFill>
                <a:latin typeface="PT Sans Narrow" panose="020B0604020202020204" charset="-52"/>
              </a:rPr>
              <a:t>km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PT Sans Narrow" panose="020B0604020202020204" charset="-52"/>
            </a:endParaRPr>
          </a:p>
          <a:p>
            <a:pPr algn="r">
              <a:spcAft>
                <a:spcPts val="600"/>
              </a:spcAft>
            </a:pP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PT Sans Narrow" panose="020B0604020202020204" charset="-52"/>
            </a:endParaRPr>
          </a:p>
        </p:txBody>
      </p:sp>
      <p:pic>
        <p:nvPicPr>
          <p:cNvPr id="30" name="Picture 13"/>
          <p:cNvPicPr>
            <a:picLocks noChangeAspect="1" noChangeArrowheads="1"/>
          </p:cNvPicPr>
          <p:nvPr/>
        </p:nvPicPr>
        <p:blipFill>
          <a:blip r:embed="rId5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5113" y="5707349"/>
            <a:ext cx="485775" cy="485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TextBox 30"/>
          <p:cNvSpPr txBox="1"/>
          <p:nvPr/>
        </p:nvSpPr>
        <p:spPr>
          <a:xfrm>
            <a:off x="8223930" y="5815107"/>
            <a:ext cx="26315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953735"/>
                </a:solidFill>
                <a:latin typeface="PT Sans Narrow" pitchFamily="34" charset="-52"/>
              </a:rPr>
              <a:t>45 </a:t>
            </a:r>
            <a:r>
              <a:rPr lang="en-US" sz="1200" b="1" dirty="0">
                <a:solidFill>
                  <a:srgbClr val="953735"/>
                </a:solidFill>
                <a:latin typeface="PT Sans Narrow" pitchFamily="34" charset="-52"/>
              </a:rPr>
              <a:t>km to </a:t>
            </a:r>
            <a:r>
              <a:rPr lang="en-US" sz="1200" b="1" dirty="0" err="1">
                <a:solidFill>
                  <a:srgbClr val="953735"/>
                </a:solidFill>
                <a:latin typeface="PT Sans Narrow" pitchFamily="34" charset="-52"/>
              </a:rPr>
              <a:t>Vnukovo</a:t>
            </a:r>
            <a:r>
              <a:rPr lang="en-US" sz="1200" b="1" dirty="0">
                <a:solidFill>
                  <a:srgbClr val="953735"/>
                </a:solidFill>
                <a:latin typeface="PT Sans Narrow" pitchFamily="34" charset="-52"/>
              </a:rPr>
              <a:t> airport</a:t>
            </a:r>
            <a:endParaRPr lang="ru-RU" sz="1200" b="1" dirty="0">
              <a:solidFill>
                <a:srgbClr val="953735"/>
              </a:solidFill>
              <a:latin typeface="PT Sans Narrow" pitchFamily="34" charset="-52"/>
            </a:endParaRPr>
          </a:p>
        </p:txBody>
      </p:sp>
      <p:pic>
        <p:nvPicPr>
          <p:cNvPr id="32" name="Picture 9"/>
          <p:cNvPicPr>
            <a:picLocks noChangeAspect="1" noChangeArrowheads="1"/>
          </p:cNvPicPr>
          <p:nvPr/>
        </p:nvPicPr>
        <p:blipFill>
          <a:blip r:embed="rId6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5113" y="4999283"/>
            <a:ext cx="485775" cy="485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3" name="TextBox 32"/>
          <p:cNvSpPr txBox="1"/>
          <p:nvPr/>
        </p:nvSpPr>
        <p:spPr>
          <a:xfrm>
            <a:off x="8226898" y="5088141"/>
            <a:ext cx="26285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953735"/>
                </a:solidFill>
                <a:latin typeface="PT Sans Narrow" pitchFamily="34" charset="-52"/>
              </a:rPr>
              <a:t>3 </a:t>
            </a:r>
            <a:r>
              <a:rPr lang="en-US" sz="1200" b="1" dirty="0">
                <a:solidFill>
                  <a:srgbClr val="953735"/>
                </a:solidFill>
                <a:latin typeface="PT Sans Narrow" pitchFamily="34" charset="-52"/>
              </a:rPr>
              <a:t>km</a:t>
            </a:r>
            <a:r>
              <a:rPr lang="ru-RU" sz="1200" b="1" dirty="0">
                <a:solidFill>
                  <a:srgbClr val="953735"/>
                </a:solidFill>
                <a:latin typeface="PT Sans Narrow" pitchFamily="34" charset="-52"/>
              </a:rPr>
              <a:t> </a:t>
            </a:r>
            <a:r>
              <a:rPr lang="en-US" sz="1200" b="1" dirty="0">
                <a:solidFill>
                  <a:srgbClr val="953735"/>
                </a:solidFill>
                <a:latin typeface="PT Sans Narrow" pitchFamily="34" charset="-52"/>
              </a:rPr>
              <a:t>to new </a:t>
            </a:r>
            <a:r>
              <a:rPr lang="en-US" sz="1200" b="1" dirty="0" err="1">
                <a:solidFill>
                  <a:srgbClr val="953735"/>
                </a:solidFill>
                <a:latin typeface="PT Sans Narrow" pitchFamily="34" charset="-52"/>
              </a:rPr>
              <a:t>TsKAD</a:t>
            </a:r>
            <a:r>
              <a:rPr lang="en-US" sz="1200" b="1" dirty="0">
                <a:solidFill>
                  <a:srgbClr val="953735"/>
                </a:solidFill>
                <a:latin typeface="PT Sans Narrow" pitchFamily="34" charset="-52"/>
              </a:rPr>
              <a:t> section</a:t>
            </a:r>
            <a:endParaRPr lang="ru-RU" sz="1200" b="1" dirty="0">
              <a:solidFill>
                <a:srgbClr val="953735"/>
              </a:solidFill>
              <a:latin typeface="PT Sans Narrow" pitchFamily="34" charset="-52"/>
            </a:endParaRPr>
          </a:p>
        </p:txBody>
      </p:sp>
      <p:pic>
        <p:nvPicPr>
          <p:cNvPr id="34" name="Picture 12"/>
          <p:cNvPicPr>
            <a:picLocks noChangeAspect="1" noChangeArrowheads="1"/>
          </p:cNvPicPr>
          <p:nvPr/>
        </p:nvPicPr>
        <p:blipFill>
          <a:blip r:embed="rId7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15113" y="6364097"/>
            <a:ext cx="485775" cy="485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5" name="TextBox 34"/>
          <p:cNvSpPr txBox="1"/>
          <p:nvPr/>
        </p:nvSpPr>
        <p:spPr>
          <a:xfrm>
            <a:off x="8223929" y="6380138"/>
            <a:ext cx="26315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953735"/>
                </a:solidFill>
                <a:latin typeface="PT Sans Narrow" pitchFamily="34" charset="-52"/>
              </a:rPr>
              <a:t>Vorsino railway station</a:t>
            </a:r>
            <a:r>
              <a:rPr lang="ru-RU" sz="1200" b="1" dirty="0">
                <a:solidFill>
                  <a:srgbClr val="953735"/>
                </a:solidFill>
                <a:latin typeface="PT Sans Narrow" pitchFamily="34" charset="-52"/>
              </a:rPr>
              <a:t> – </a:t>
            </a:r>
            <a:r>
              <a:rPr lang="en-US" sz="1200" b="1" dirty="0">
                <a:solidFill>
                  <a:srgbClr val="953735"/>
                </a:solidFill>
                <a:latin typeface="PT Sans Narrow" pitchFamily="34" charset="-52"/>
              </a:rPr>
              <a:t>onsite</a:t>
            </a:r>
            <a:endParaRPr lang="ru-RU" sz="1200" b="1" dirty="0">
              <a:solidFill>
                <a:srgbClr val="953735"/>
              </a:solidFill>
              <a:latin typeface="PT Sans Narrow" pitchFamily="34" charset="-52"/>
            </a:endParaRPr>
          </a:p>
          <a:p>
            <a:r>
              <a:rPr lang="en-US" sz="1200" b="1" dirty="0" err="1">
                <a:solidFill>
                  <a:srgbClr val="953735"/>
                </a:solidFill>
                <a:latin typeface="PT Sans Narrow" pitchFamily="34" charset="-52"/>
              </a:rPr>
              <a:t>Bekasovo</a:t>
            </a:r>
            <a:r>
              <a:rPr lang="en-US" sz="1200" b="1" dirty="0">
                <a:solidFill>
                  <a:srgbClr val="953735"/>
                </a:solidFill>
                <a:latin typeface="PT Sans Narrow" pitchFamily="34" charset="-52"/>
              </a:rPr>
              <a:t> marshal yard – 25 km</a:t>
            </a:r>
            <a:endParaRPr lang="ru-RU" sz="1200" b="1" dirty="0">
              <a:solidFill>
                <a:srgbClr val="953735"/>
              </a:solidFill>
              <a:latin typeface="PT Sans Narrow" pitchFamily="34" charset="-52"/>
            </a:endParaRPr>
          </a:p>
        </p:txBody>
      </p:sp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0503" y="2952700"/>
            <a:ext cx="449467" cy="606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3"/>
          <p:cNvPicPr>
            <a:picLocks noChangeAspect="1" noChangeArrowheads="1"/>
          </p:cNvPicPr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9866" y="3106778"/>
            <a:ext cx="470115" cy="447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8" name="Прямая соединительная линия 37"/>
          <p:cNvCxnSpPr/>
          <p:nvPr/>
        </p:nvCxnSpPr>
        <p:spPr>
          <a:xfrm>
            <a:off x="7569866" y="3641361"/>
            <a:ext cx="504000" cy="0"/>
          </a:xfrm>
          <a:prstGeom prst="line">
            <a:avLst/>
          </a:prstGeom>
          <a:ln w="1905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8217882" y="3641361"/>
            <a:ext cx="1980000" cy="0"/>
          </a:xfrm>
          <a:prstGeom prst="line">
            <a:avLst/>
          </a:prstGeom>
          <a:ln w="1905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Прямоугольник 39"/>
          <p:cNvSpPr/>
          <p:nvPr/>
        </p:nvSpPr>
        <p:spPr>
          <a:xfrm>
            <a:off x="8029488" y="3696810"/>
            <a:ext cx="2780682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 dirty="0">
                <a:solidFill>
                  <a:schemeClr val="accent2">
                    <a:lumMod val="75000"/>
                  </a:schemeClr>
                </a:solidFill>
                <a:latin typeface="PT Sans Narrow" panose="020B0604020202020204" charset="-52"/>
              </a:rPr>
              <a:t>|</a:t>
            </a:r>
            <a:r>
              <a:rPr lang="ru-RU" sz="1200" b="1" dirty="0">
                <a:solidFill>
                  <a:schemeClr val="accent2">
                    <a:lumMod val="75000"/>
                  </a:schemeClr>
                </a:solidFill>
                <a:latin typeface="PT Sans Narrow" panose="020B0604020202020204" charset="-52"/>
              </a:rPr>
              <a:t> </a:t>
            </a:r>
            <a:r>
              <a:rPr lang="en-US" sz="1200" b="1" dirty="0">
                <a:solidFill>
                  <a:schemeClr val="accent2">
                    <a:lumMod val="75000"/>
                  </a:schemeClr>
                </a:solidFill>
                <a:latin typeface="PT Sans Narrow" panose="020B0604020202020204" charset="-52"/>
              </a:rPr>
              <a:t>  </a:t>
            </a:r>
            <a:r>
              <a:rPr lang="ru-RU" sz="1200" b="1" dirty="0">
                <a:solidFill>
                  <a:schemeClr val="accent2">
                    <a:lumMod val="75000"/>
                  </a:schemeClr>
                </a:solidFill>
                <a:latin typeface="PT Sans Narrow" panose="020B0604020202020204" charset="-52"/>
              </a:rPr>
              <a:t>40 </a:t>
            </a:r>
            <a:r>
              <a:rPr lang="en-US" sz="1200" b="1" dirty="0">
                <a:solidFill>
                  <a:schemeClr val="accent2">
                    <a:lumMod val="75000"/>
                  </a:schemeClr>
                </a:solidFill>
                <a:latin typeface="PT Sans Narrow" panose="020B0604020202020204" charset="-52"/>
              </a:rPr>
              <a:t>min</a:t>
            </a:r>
            <a:r>
              <a:rPr lang="ru-RU" sz="1200" b="1" dirty="0">
                <a:solidFill>
                  <a:schemeClr val="accent2">
                    <a:lumMod val="75000"/>
                  </a:schemeClr>
                </a:solidFill>
                <a:latin typeface="PT Sans Narrow" panose="020B0604020202020204" charset="-52"/>
              </a:rPr>
              <a:t> 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</a:rPr>
              <a:t>to MKAD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PT Sans Narrow" panose="020B0604020202020204" charset="-52"/>
            </a:endParaRPr>
          </a:p>
          <a:p>
            <a:pPr>
              <a:spcAft>
                <a:spcPts val="600"/>
              </a:spcAft>
            </a:pPr>
            <a:r>
              <a:rPr lang="en-US" sz="1200" b="1" dirty="0">
                <a:solidFill>
                  <a:schemeClr val="accent2">
                    <a:lumMod val="75000"/>
                  </a:schemeClr>
                </a:solidFill>
                <a:latin typeface="PT Sans Narrow" panose="020B0604020202020204" charset="-52"/>
              </a:rPr>
              <a:t>|</a:t>
            </a:r>
            <a:r>
              <a:rPr lang="ru-RU" sz="1200" b="1" dirty="0">
                <a:solidFill>
                  <a:schemeClr val="accent2">
                    <a:lumMod val="75000"/>
                  </a:schemeClr>
                </a:solidFill>
                <a:latin typeface="PT Sans Narrow" panose="020B0604020202020204" charset="-52"/>
              </a:rPr>
              <a:t>  </a:t>
            </a:r>
            <a:r>
              <a:rPr lang="en-US" sz="1200" b="1" dirty="0">
                <a:solidFill>
                  <a:schemeClr val="accent2">
                    <a:lumMod val="75000"/>
                  </a:schemeClr>
                </a:solidFill>
                <a:latin typeface="PT Sans Narrow" panose="020B0604020202020204" charset="-52"/>
              </a:rPr>
              <a:t> </a:t>
            </a:r>
            <a:r>
              <a:rPr lang="ru-RU" sz="1200" b="1" dirty="0">
                <a:solidFill>
                  <a:schemeClr val="accent2">
                    <a:lumMod val="75000"/>
                  </a:schemeClr>
                </a:solidFill>
                <a:latin typeface="PT Sans Narrow" panose="020B0604020202020204" charset="-52"/>
              </a:rPr>
              <a:t>25 </a:t>
            </a:r>
            <a:r>
              <a:rPr lang="en-US" sz="1200" b="1" dirty="0">
                <a:solidFill>
                  <a:schemeClr val="accent2">
                    <a:lumMod val="75000"/>
                  </a:schemeClr>
                </a:solidFill>
                <a:latin typeface="PT Sans Narrow" panose="020B0604020202020204" charset="-52"/>
              </a:rPr>
              <a:t>min 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</a:rPr>
              <a:t>to A-107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PT Sans Narrow" panose="020B0604020202020204" charset="-52"/>
            </a:endParaRPr>
          </a:p>
          <a:p>
            <a:pPr>
              <a:spcAft>
                <a:spcPts val="600"/>
              </a:spcAft>
            </a:pPr>
            <a:r>
              <a:rPr lang="en-US" sz="1200" b="1" dirty="0">
                <a:solidFill>
                  <a:schemeClr val="accent2">
                    <a:lumMod val="75000"/>
                  </a:schemeClr>
                </a:solidFill>
                <a:latin typeface="PT Sans Narrow" panose="020B0604020202020204" charset="-52"/>
              </a:rPr>
              <a:t>|</a:t>
            </a:r>
            <a:r>
              <a:rPr lang="ru-RU" sz="1200" b="1" dirty="0">
                <a:solidFill>
                  <a:schemeClr val="accent2">
                    <a:lumMod val="75000"/>
                  </a:schemeClr>
                </a:solidFill>
                <a:latin typeface="PT Sans Narrow" panose="020B0604020202020204" charset="-52"/>
              </a:rPr>
              <a:t>  </a:t>
            </a:r>
            <a:r>
              <a:rPr lang="en-US" sz="1200" b="1" dirty="0">
                <a:solidFill>
                  <a:schemeClr val="accent2">
                    <a:lumMod val="75000"/>
                  </a:schemeClr>
                </a:solidFill>
                <a:latin typeface="PT Sans Narrow" panose="020B0604020202020204" charset="-52"/>
              </a:rPr>
              <a:t>   </a:t>
            </a:r>
            <a:r>
              <a:rPr lang="ru-RU" sz="1200" b="1" dirty="0">
                <a:solidFill>
                  <a:schemeClr val="accent2">
                    <a:lumMod val="75000"/>
                  </a:schemeClr>
                </a:solidFill>
                <a:latin typeface="PT Sans Narrow" panose="020B0604020202020204" charset="-52"/>
              </a:rPr>
              <a:t>5 </a:t>
            </a:r>
            <a:r>
              <a:rPr lang="en-US" sz="1200" b="1" dirty="0">
                <a:solidFill>
                  <a:schemeClr val="accent2">
                    <a:lumMod val="75000"/>
                  </a:schemeClr>
                </a:solidFill>
                <a:latin typeface="PT Sans Narrow" panose="020B0604020202020204" charset="-52"/>
              </a:rPr>
              <a:t>min 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</a:rPr>
              <a:t>to A-108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PT Sans Narrow" panose="020B0604020202020204" charset="-52"/>
            </a:endParaRPr>
          </a:p>
          <a:p>
            <a:pPr lvl="0">
              <a:spcAft>
                <a:spcPts val="600"/>
              </a:spcAft>
            </a:pPr>
            <a:r>
              <a:rPr lang="en-US" sz="1200" b="1" dirty="0">
                <a:solidFill>
                  <a:schemeClr val="accent2">
                    <a:lumMod val="75000"/>
                  </a:schemeClr>
                </a:solidFill>
                <a:latin typeface="PT Sans Narrow" panose="020B0604020202020204" charset="-52"/>
              </a:rPr>
              <a:t>|</a:t>
            </a:r>
            <a:r>
              <a:rPr lang="ru-RU" sz="1200" b="1" dirty="0">
                <a:solidFill>
                  <a:schemeClr val="accent2">
                    <a:lumMod val="75000"/>
                  </a:schemeClr>
                </a:solidFill>
                <a:latin typeface="PT Sans Narrow" panose="020B0604020202020204" charset="-52"/>
              </a:rPr>
              <a:t>  </a:t>
            </a:r>
            <a:r>
              <a:rPr lang="en-US" sz="1200" b="1" dirty="0">
                <a:solidFill>
                  <a:schemeClr val="accent2">
                    <a:lumMod val="75000"/>
                  </a:schemeClr>
                </a:solidFill>
                <a:latin typeface="PT Sans Narrow" panose="020B0604020202020204" charset="-52"/>
              </a:rPr>
              <a:t> </a:t>
            </a:r>
            <a:r>
              <a:rPr lang="ru-RU" sz="1200" b="1" dirty="0">
                <a:solidFill>
                  <a:schemeClr val="accent2">
                    <a:lumMod val="75000"/>
                  </a:schemeClr>
                </a:solidFill>
                <a:latin typeface="PT Sans Narrow" panose="020B0604020202020204" charset="-52"/>
              </a:rPr>
              <a:t>30 </a:t>
            </a:r>
            <a:r>
              <a:rPr lang="en-US" sz="1200" b="1" dirty="0">
                <a:solidFill>
                  <a:schemeClr val="accent2">
                    <a:lumMod val="75000"/>
                  </a:schemeClr>
                </a:solidFill>
                <a:latin typeface="PT Sans Narrow" panose="020B0604020202020204" charset="-52"/>
              </a:rPr>
              <a:t>min 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</a:rPr>
              <a:t>to 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</a:rPr>
              <a:t>М-1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</a:rPr>
              <a:t> Moscow-Minsk</a:t>
            </a:r>
            <a:r>
              <a:rPr lang="ru-RU" sz="1200" b="1" dirty="0">
                <a:latin typeface="PT Sans Narrow" panose="020B0604020202020204" charset="-52"/>
              </a:rPr>
              <a:t> 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3227285" y="6756834"/>
            <a:ext cx="3240360" cy="11647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71" name="Группа 70"/>
          <p:cNvGrpSpPr/>
          <p:nvPr/>
        </p:nvGrpSpPr>
        <p:grpSpPr>
          <a:xfrm>
            <a:off x="3078609" y="6812702"/>
            <a:ext cx="3537712" cy="1038303"/>
            <a:chOff x="3213305" y="6553100"/>
            <a:chExt cx="3537712" cy="1038303"/>
          </a:xfrm>
        </p:grpSpPr>
        <p:sp>
          <p:nvSpPr>
            <p:cNvPr id="72" name="Прямоугольник 71"/>
            <p:cNvSpPr/>
            <p:nvPr/>
          </p:nvSpPr>
          <p:spPr>
            <a:xfrm>
              <a:off x="3362667" y="6811509"/>
              <a:ext cx="3388350" cy="5539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/>
                  <a:ea typeface="Tahoma" panose="020B0604030504040204" pitchFamily="34" charset="0"/>
                  <a:cs typeface="PT Sans Narrow"/>
                </a:rPr>
                <a:t>Moscow cargo hubs – planned closure</a:t>
              </a: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/>
                <a:ea typeface="Tahoma" panose="020B0604030504040204" pitchFamily="34" charset="0"/>
                <a:cs typeface="PT Sans Narrow"/>
              </a:endParaRPr>
            </a:p>
            <a:p>
              <a:r>
                <a:rPr lang="ru-RU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/>
                  <a:ea typeface="Tahoma" panose="020B0604030504040204" pitchFamily="34" charset="0"/>
                  <a:cs typeface="PT Sans Narrow"/>
                </a:rPr>
                <a:t>(</a:t>
              </a:r>
              <a:r>
                <a:rPr lang="en-US" sz="10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/>
                  <a:ea typeface="Tahoma" panose="020B0604030504040204" pitchFamily="34" charset="0"/>
                  <a:cs typeface="PT Sans Narrow"/>
                </a:rPr>
                <a:t>Paveletskaya</a:t>
              </a:r>
              <a:r>
                <a:rPr 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/>
                  <a:ea typeface="Tahoma" panose="020B0604030504040204" pitchFamily="34" charset="0"/>
                  <a:cs typeface="PT Sans Narrow"/>
                </a:rPr>
                <a:t>, </a:t>
              </a:r>
              <a:r>
                <a:rPr lang="en-US" sz="10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/>
                  <a:ea typeface="Tahoma" panose="020B0604030504040204" pitchFamily="34" charset="0"/>
                  <a:cs typeface="PT Sans Narrow"/>
                </a:rPr>
                <a:t>Oktyabrskaya</a:t>
              </a:r>
              <a:r>
                <a:rPr 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/>
                  <a:ea typeface="Tahoma" panose="020B0604030504040204" pitchFamily="34" charset="0"/>
                  <a:cs typeface="PT Sans Narrow"/>
                </a:rPr>
                <a:t>, </a:t>
              </a:r>
              <a:r>
                <a:rPr lang="en-US" sz="10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/>
                  <a:ea typeface="Tahoma" panose="020B0604030504040204" pitchFamily="34" charset="0"/>
                  <a:cs typeface="PT Sans Narrow"/>
                </a:rPr>
                <a:t>Butyrskaya</a:t>
              </a:r>
              <a:r>
                <a:rPr 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/>
                  <a:ea typeface="Tahoma" panose="020B0604030504040204" pitchFamily="34" charset="0"/>
                  <a:cs typeface="PT Sans Narrow"/>
                </a:rPr>
                <a:t>, </a:t>
              </a:r>
              <a:r>
                <a:rPr lang="en-US" sz="10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/>
                  <a:ea typeface="Tahoma" panose="020B0604030504040204" pitchFamily="34" charset="0"/>
                  <a:cs typeface="PT Sans Narrow"/>
                </a:rPr>
                <a:t>Rizhskaya</a:t>
              </a:r>
              <a:r>
                <a:rPr 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/>
                  <a:ea typeface="Tahoma" panose="020B0604030504040204" pitchFamily="34" charset="0"/>
                  <a:cs typeface="PT Sans Narrow"/>
                </a:rPr>
                <a:t>, </a:t>
              </a:r>
              <a:r>
                <a:rPr lang="en-US" sz="10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/>
                  <a:ea typeface="Tahoma" panose="020B0604030504040204" pitchFamily="34" charset="0"/>
                  <a:cs typeface="PT Sans Narrow"/>
                </a:rPr>
                <a:t>Ryazanskaya</a:t>
              </a:r>
              <a:r>
                <a:rPr 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/>
                  <a:ea typeface="Tahoma" panose="020B0604030504040204" pitchFamily="34" charset="0"/>
                  <a:cs typeface="PT Sans Narrow"/>
                </a:rPr>
                <a:t>, </a:t>
              </a:r>
              <a:r>
                <a:rPr lang="en-US" sz="10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/>
                  <a:ea typeface="Tahoma" panose="020B0604030504040204" pitchFamily="34" charset="0"/>
                  <a:cs typeface="PT Sans Narrow"/>
                </a:rPr>
                <a:t>Kurskaya</a:t>
              </a:r>
              <a:r>
                <a:rPr 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/>
                  <a:ea typeface="Tahoma" panose="020B0604030504040204" pitchFamily="34" charset="0"/>
                  <a:cs typeface="PT Sans Narrow"/>
                </a:rPr>
                <a:t>, </a:t>
              </a:r>
              <a:r>
                <a:rPr lang="en-US" sz="10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/>
                  <a:ea typeface="Tahoma" panose="020B0604030504040204" pitchFamily="34" charset="0"/>
                  <a:cs typeface="PT Sans Narrow"/>
                </a:rPr>
                <a:t>Kievskaya</a:t>
              </a:r>
              <a:r>
                <a:rPr 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/>
                  <a:ea typeface="Tahoma" panose="020B0604030504040204" pitchFamily="34" charset="0"/>
                  <a:cs typeface="PT Sans Narrow"/>
                </a:rPr>
                <a:t>, </a:t>
              </a:r>
              <a:r>
                <a:rPr lang="en-US" sz="10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/>
                  <a:ea typeface="Tahoma" panose="020B0604030504040204" pitchFamily="34" charset="0"/>
                  <a:cs typeface="PT Sans Narrow"/>
                </a:rPr>
                <a:t>Smolenskaya</a:t>
              </a:r>
              <a:r>
                <a:rPr lang="ru-RU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/>
                  <a:ea typeface="Tahoma" panose="020B0604030504040204" pitchFamily="34" charset="0"/>
                  <a:cs typeface="PT Sans Narrow"/>
                </a:rPr>
                <a:t>)</a:t>
              </a:r>
              <a:endPara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/>
                <a:ea typeface="Tahoma" panose="020B0604030504040204" pitchFamily="34" charset="0"/>
                <a:cs typeface="PT Sans Narrow"/>
              </a:endParaRPr>
            </a:p>
          </p:txBody>
        </p:sp>
        <p:sp>
          <p:nvSpPr>
            <p:cNvPr id="73" name="Овал 72"/>
            <p:cNvSpPr/>
            <p:nvPr/>
          </p:nvSpPr>
          <p:spPr>
            <a:xfrm>
              <a:off x="3213305" y="7401990"/>
              <a:ext cx="144016" cy="144016"/>
            </a:xfrm>
            <a:prstGeom prst="ellipse">
              <a:avLst/>
            </a:prstGeom>
            <a:solidFill>
              <a:srgbClr val="9C242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4" name="Овал 73"/>
            <p:cNvSpPr/>
            <p:nvPr/>
          </p:nvSpPr>
          <p:spPr>
            <a:xfrm>
              <a:off x="3213305" y="6602978"/>
              <a:ext cx="149361" cy="149361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5" name="Прямоугольник 74"/>
            <p:cNvSpPr/>
            <p:nvPr/>
          </p:nvSpPr>
          <p:spPr>
            <a:xfrm>
              <a:off x="3360739" y="6553100"/>
              <a:ext cx="2210425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/>
                  <a:ea typeface="Tahoma" panose="020B0604030504040204" pitchFamily="34" charset="0"/>
                  <a:cs typeface="PT Sans Narrow"/>
                </a:rPr>
                <a:t>Moscow cargo hubs</a:t>
              </a:r>
              <a:endPara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/>
                <a:ea typeface="Tahoma" panose="020B0604030504040204" pitchFamily="34" charset="0"/>
                <a:cs typeface="PT Sans Narrow"/>
              </a:endParaRPr>
            </a:p>
          </p:txBody>
        </p:sp>
        <p:grpSp>
          <p:nvGrpSpPr>
            <p:cNvPr id="76" name="Группа 75"/>
            <p:cNvGrpSpPr/>
            <p:nvPr/>
          </p:nvGrpSpPr>
          <p:grpSpPr>
            <a:xfrm>
              <a:off x="3213305" y="6868317"/>
              <a:ext cx="144016" cy="144016"/>
              <a:chOff x="5631361" y="5830014"/>
              <a:chExt cx="144016" cy="144016"/>
            </a:xfrm>
          </p:grpSpPr>
          <p:sp>
            <p:nvSpPr>
              <p:cNvPr id="78" name="Овал 77"/>
              <p:cNvSpPr/>
              <p:nvPr/>
            </p:nvSpPr>
            <p:spPr>
              <a:xfrm>
                <a:off x="5631361" y="5830014"/>
                <a:ext cx="144016" cy="144016"/>
              </a:xfrm>
              <a:prstGeom prst="ellipse">
                <a:avLst/>
              </a:prstGeom>
              <a:solidFill>
                <a:srgbClr val="FFFF00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9" name="Крест 78"/>
              <p:cNvSpPr/>
              <p:nvPr/>
            </p:nvSpPr>
            <p:spPr>
              <a:xfrm rot="2630281">
                <a:off x="5638136" y="5846347"/>
                <a:ext cx="130464" cy="127480"/>
              </a:xfrm>
              <a:prstGeom prst="plus">
                <a:avLst>
                  <a:gd name="adj" fmla="val 49340"/>
                </a:avLst>
              </a:prstGeom>
              <a:solidFill>
                <a:srgbClr val="FF0000"/>
              </a:solidFill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sp>
          <p:nvSpPr>
            <p:cNvPr id="77" name="Прямоугольник 76"/>
            <p:cNvSpPr/>
            <p:nvPr/>
          </p:nvSpPr>
          <p:spPr>
            <a:xfrm>
              <a:off x="3362666" y="7345182"/>
              <a:ext cx="3263009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T Sans Narrow"/>
                  <a:ea typeface="Tahoma" panose="020B0604030504040204" pitchFamily="34" charset="0"/>
                  <a:cs typeface="PT Sans Narrow"/>
                </a:rPr>
                <a:t>Federal cargo hubs</a:t>
              </a:r>
              <a:endPara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/>
                <a:ea typeface="Tahoma" panose="020B0604030504040204" pitchFamily="34" charset="0"/>
                <a:cs typeface="PT Sans Narrow"/>
              </a:endParaRPr>
            </a:p>
          </p:txBody>
        </p:sp>
      </p:grpSp>
      <p:sp>
        <p:nvSpPr>
          <p:cNvPr id="82" name="Дуга 81"/>
          <p:cNvSpPr/>
          <p:nvPr/>
        </p:nvSpPr>
        <p:spPr>
          <a:xfrm rot="6919882">
            <a:off x="415659" y="4304453"/>
            <a:ext cx="1744811" cy="1744811"/>
          </a:xfrm>
          <a:prstGeom prst="arc">
            <a:avLst>
              <a:gd name="adj1" fmla="val 16200000"/>
              <a:gd name="adj2" fmla="val 322202"/>
            </a:avLst>
          </a:prstGeom>
          <a:ln w="12700">
            <a:solidFill>
              <a:srgbClr val="9C2521"/>
            </a:solidFill>
            <a:headEnd type="stealth" w="lg" len="lg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3" name="Изображение 1" descr="Screen Shot 2017-02-03 at 12.31.35.png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89" t="16004" r="18295" b="18992"/>
          <a:stretch/>
        </p:blipFill>
        <p:spPr>
          <a:xfrm>
            <a:off x="207703" y="5346356"/>
            <a:ext cx="708039" cy="708039"/>
          </a:xfrm>
          <a:prstGeom prst="ellipse">
            <a:avLst/>
          </a:prstGeom>
          <a:noFill/>
          <a:ln w="15875">
            <a:solidFill>
              <a:srgbClr val="9C2420"/>
            </a:solidFill>
          </a:ln>
        </p:spPr>
      </p:pic>
      <p:sp>
        <p:nvSpPr>
          <p:cNvPr id="84" name="Овал 83"/>
          <p:cNvSpPr/>
          <p:nvPr/>
        </p:nvSpPr>
        <p:spPr>
          <a:xfrm>
            <a:off x="3326540" y="4824908"/>
            <a:ext cx="153617" cy="153617"/>
          </a:xfrm>
          <a:prstGeom prst="ellipse">
            <a:avLst/>
          </a:prstGeom>
          <a:solidFill>
            <a:srgbClr val="9C242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5" name="Прямоугольник 84"/>
          <p:cNvSpPr/>
          <p:nvPr/>
        </p:nvSpPr>
        <p:spPr>
          <a:xfrm>
            <a:off x="2646561" y="4968924"/>
            <a:ext cx="154807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  <a:ea typeface="Tahoma" panose="020B0604030504040204" pitchFamily="34" charset="0"/>
                <a:cs typeface="Tahoma" panose="020B0604030504040204" pitchFamily="34" charset="0"/>
              </a:rPr>
              <a:t>Ecodor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Narrow" panose="020B0604020202020204" charset="-52"/>
                <a:ea typeface="Tahoma" panose="020B0604030504040204" pitchFamily="34" charset="0"/>
                <a:cs typeface="Tahoma" panose="020B0604030504040204" pitchFamily="34" charset="0"/>
              </a:rPr>
              <a:t> Podolsk</a:t>
            </a:r>
            <a:endParaRPr lang="ru-RU" sz="2400" dirty="0">
              <a:solidFill>
                <a:schemeClr val="tx1">
                  <a:lumMod val="75000"/>
                  <a:lumOff val="25000"/>
                </a:schemeClr>
              </a:solidFill>
              <a:latin typeface="PT Sans Narrow" panose="020B0604020202020204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2948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ClEurWR4OlCaD5QQFY8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65De6VSU20_UFJexMh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n4LUPfSUOCL7t4i.quA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65De6VSU20_UFJexMhg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n4LUPfSUOCL7t4i.quA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2WT7ZGTUqnptv7102sT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448</TotalTime>
  <Words>1368</Words>
  <Application>Microsoft Office PowerPoint</Application>
  <PresentationFormat>Произвольный</PresentationFormat>
  <Paragraphs>226</Paragraphs>
  <Slides>16</Slides>
  <Notes>1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5" baseType="lpstr">
      <vt:lpstr>Calibri</vt:lpstr>
      <vt:lpstr>Wingdings</vt:lpstr>
      <vt:lpstr>Arial</vt:lpstr>
      <vt:lpstr>Tahoma</vt:lpstr>
      <vt:lpstr>Angsana New</vt:lpstr>
      <vt:lpstr>PT Sans Narrow</vt:lpstr>
      <vt:lpstr>Georgia</vt:lpstr>
      <vt:lpstr>Тема Office</vt:lpstr>
      <vt:lpstr>think-cell Slide</vt:lpstr>
      <vt:lpstr>Презентация PowerPoint</vt:lpstr>
      <vt:lpstr> COMPANY’S PROFILE</vt:lpstr>
      <vt:lpstr>FREIGHT VILLAGE VORSINO CONCEPT</vt:lpstr>
      <vt:lpstr>НОВЫЙ ШЕЛКОВЫЙ ПУТЬ ДЛЯ ЕВРАЗИИ</vt:lpstr>
      <vt:lpstr>Презентация PowerPoint</vt:lpstr>
      <vt:lpstr>The population growth is corelated with the largest cities GDP growth</vt:lpstr>
      <vt:lpstr>Megapolis development requires implementation of new technologies into logistics system</vt:lpstr>
      <vt:lpstr>Презентация PowerPoint</vt:lpstr>
      <vt:lpstr>FREIGHT VILLAGE LOCATION IN RUSSIA </vt:lpstr>
      <vt:lpstr>Презентация PowerPoint</vt:lpstr>
      <vt:lpstr>Презентация PowerPoint</vt:lpstr>
      <vt:lpstr>Презентация PowerPoint</vt:lpstr>
      <vt:lpstr>DIGITAL LOGISTICS PLATFORM </vt:lpstr>
      <vt:lpstr>Customer journey should be based on the Joint Digital Platform</vt:lpstr>
      <vt:lpstr>НОВЫЙ ШЕЛКОВЫЙ ПУТЬ ДЛЯ ЕВРАЗИИ</vt:lpstr>
      <vt:lpstr>CONTACT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Пользователь</dc:creator>
  <cp:lastModifiedBy>log01</cp:lastModifiedBy>
  <cp:revision>606</cp:revision>
  <cp:lastPrinted>2017-02-07T14:17:00Z</cp:lastPrinted>
  <dcterms:created xsi:type="dcterms:W3CDTF">2015-02-06T05:34:12Z</dcterms:created>
  <dcterms:modified xsi:type="dcterms:W3CDTF">2018-11-16T12:13:11Z</dcterms:modified>
</cp:coreProperties>
</file>